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7" r:id="rId4"/>
    <p:sldMasterId id="2147483814" r:id="rId5"/>
  </p:sldMasterIdLst>
  <p:notesMasterIdLst>
    <p:notesMasterId r:id="rId14"/>
  </p:notesMasterIdLst>
  <p:handoutMasterIdLst>
    <p:handoutMasterId r:id="rId15"/>
  </p:handoutMasterIdLst>
  <p:sldIdLst>
    <p:sldId id="331" r:id="rId6"/>
    <p:sldId id="2147229189" r:id="rId7"/>
    <p:sldId id="2147229190" r:id="rId8"/>
    <p:sldId id="2147229193" r:id="rId9"/>
    <p:sldId id="2147229192" r:id="rId10"/>
    <p:sldId id="2147229194" r:id="rId11"/>
    <p:sldId id="2147229191" r:id="rId12"/>
    <p:sldId id="2147229092" r:id="rId13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Ubuntu" panose="020B0604020202020204" charset="0"/>
      <p:regular r:id="rId20"/>
      <p:bold r:id="rId21"/>
      <p:italic r:id="rId22"/>
    </p:embeddedFont>
    <p:embeddedFont>
      <p:font typeface="Ubuntu Medium" panose="020B0604030602030204" charset="0"/>
      <p:regular r:id="rId23"/>
    </p:embeddedFont>
    <p:embeddedFont>
      <p:font typeface="Verdana" panose="020B0604030504040204" pitchFamily="34" charset="0"/>
      <p:regular r:id="rId24"/>
      <p:bold r:id="rId25"/>
      <p:italic r:id="rId26"/>
      <p:boldItalic r:id="rId27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orient="horz" pos="191">
          <p15:clr>
            <a:srgbClr val="A4A3A4"/>
          </p15:clr>
        </p15:guide>
        <p15:guide id="3" orient="horz" pos="854">
          <p15:clr>
            <a:srgbClr val="A4A3A4"/>
          </p15:clr>
        </p15:guide>
        <p15:guide id="4" orient="horz" pos="821">
          <p15:clr>
            <a:srgbClr val="A4A3A4"/>
          </p15:clr>
        </p15:guide>
        <p15:guide id="5" orient="horz" pos="3049">
          <p15:clr>
            <a:srgbClr val="A4A3A4"/>
          </p15:clr>
        </p15:guide>
        <p15:guide id="6" orient="horz" pos="3151">
          <p15:clr>
            <a:srgbClr val="A4A3A4"/>
          </p15:clr>
        </p15:guide>
        <p15:guide id="7" pos="2880">
          <p15:clr>
            <a:srgbClr val="A4A3A4"/>
          </p15:clr>
        </p15:guide>
        <p15:guide id="8" pos="476">
          <p15:clr>
            <a:srgbClr val="A4A3A4"/>
          </p15:clr>
        </p15:guide>
        <p15:guide id="9" pos="5193">
          <p15:clr>
            <a:srgbClr val="A4A3A4"/>
          </p15:clr>
        </p15:guide>
        <p15:guide id="10" pos="13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C6EA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EB9FAA4-A3C7-4D23-BF3D-4EE4517CFC8F}" v="1" dt="2022-03-28T12:22:04.371"/>
    <p1510:client id="{F535EDF6-1B92-47A5-9ECF-07B354F9FAD0}" v="15" dt="2022-03-30T09:59:13.45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1620"/>
        <p:guide orient="horz" pos="191"/>
        <p:guide orient="horz" pos="854"/>
        <p:guide orient="horz" pos="821"/>
        <p:guide orient="horz" pos="3049"/>
        <p:guide orient="horz" pos="3151"/>
        <p:guide pos="2880"/>
        <p:guide pos="476"/>
        <p:guide pos="5193"/>
        <p:guide pos="1383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9.fntdata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font" Target="fonts/font4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FD4A3E-45A4-4CDB-BA8F-22CCBD89057B}" type="datetimeFigureOut">
              <a:rPr lang="fr-FR" smtClean="0"/>
              <a:pPr/>
              <a:t>30/03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D0DDF3-7232-4648-9E6E-59BB6E86554F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32009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D680E798-53FF-4C51-A981-953463752515}" type="datetimeFigureOut">
              <a:rPr lang="fr-FR" smtClean="0"/>
              <a:pPr/>
              <a:t>30/03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1B06CD8F-B7ED-4A05-9FB1-A01CC0EF02CC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662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029358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Processus standard et stab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425709-7454-4298-AFAC-A4DD76487D53}" type="slidenum">
              <a:rPr lang="fr-FR" smtClean="0">
                <a:solidFill>
                  <a:prstClr val="black"/>
                </a:solidFill>
              </a:rPr>
              <a:pPr/>
              <a:t>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89325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425709-7454-4298-AFAC-A4DD76487D53}" type="slidenum">
              <a:rPr lang="fr-FR" smtClean="0">
                <a:solidFill>
                  <a:prstClr val="black"/>
                </a:solidFill>
              </a:rPr>
              <a:pPr/>
              <a:t>3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44810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425709-7454-4298-AFAC-A4DD76487D53}" type="slidenum">
              <a:rPr lang="fr-FR" smtClean="0">
                <a:solidFill>
                  <a:prstClr val="black"/>
                </a:solidFill>
              </a:rPr>
              <a:pPr/>
              <a:t>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4373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425709-7454-4298-AFAC-A4DD76487D53}" type="slidenum">
              <a:rPr lang="fr-FR" smtClean="0">
                <a:solidFill>
                  <a:prstClr val="black"/>
                </a:solidFill>
              </a:rPr>
              <a:pPr/>
              <a:t>5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9597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425709-7454-4298-AFAC-A4DD76487D53}" type="slidenum">
              <a:rPr lang="fr-FR" smtClean="0">
                <a:solidFill>
                  <a:prstClr val="black"/>
                </a:solidFill>
              </a:rPr>
              <a:pPr/>
              <a:t>6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4860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425709-7454-4298-AFAC-A4DD76487D53}" type="slidenum">
              <a:rPr lang="fr-FR" smtClean="0">
                <a:solidFill>
                  <a:prstClr val="black"/>
                </a:solidFill>
              </a:rPr>
              <a:pPr/>
              <a:t>7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85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96B5C-12A0-4042-B4D0-BD3B9A4F58C6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01599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 algn="r"/>
            <a:r>
              <a:rPr lang="fr-FR" cap="all"/>
              <a:t>XX/XX/XXXX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Intitulé de la direction/service interministérielle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0000" y="2346046"/>
            <a:ext cx="8424000" cy="20772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3250" b="1" cap="all" baseline="0"/>
            </a:lvl1pPr>
            <a:lvl2pPr marL="0" indent="0">
              <a:spcBef>
                <a:spcPts val="500"/>
              </a:spcBef>
              <a:spcAft>
                <a:spcPts val="0"/>
              </a:spcAft>
              <a:buNone/>
              <a:defRPr sz="185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cxnSp>
        <p:nvCxnSpPr>
          <p:cNvPr id="12" name="Connecteur droit 11"/>
          <p:cNvCxnSpPr/>
          <p:nvPr userDrawn="1"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>
            <a:extLst>
              <a:ext uri="{FF2B5EF4-FFF2-40B4-BE49-F238E27FC236}">
                <a16:creationId xmlns:a16="http://schemas.microsoft.com/office/drawing/2014/main" id="{EC04E4D8-81BF-1E49-863C-5693067E17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6881"/>
            <a:ext cx="2152829" cy="1657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9045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359998" y="900000"/>
            <a:ext cx="8424000" cy="720000"/>
          </a:xfrm>
        </p:spPr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>
          <a:xfrm>
            <a:off x="7614003" y="4783500"/>
            <a:ext cx="1170000" cy="360000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fr-FR" cap="all">
                <a:solidFill>
                  <a:srgbClr val="000000"/>
                </a:solidFill>
              </a:rPr>
              <a:t>XX/XX/XXXX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#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9" name="Espace réservé du contenu 8"/>
          <p:cNvSpPr>
            <a:spLocks noGrp="1"/>
          </p:cNvSpPr>
          <p:nvPr>
            <p:ph sz="quarter" idx="14" hasCustomPrompt="1"/>
          </p:nvPr>
        </p:nvSpPr>
        <p:spPr bwMode="gray">
          <a:xfrm>
            <a:off x="359998" y="1836000"/>
            <a:ext cx="8424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5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12000" y="180000"/>
            <a:ext cx="5472000" cy="360000"/>
          </a:xfrm>
        </p:spPr>
        <p:txBody>
          <a:bodyPr/>
          <a:lstStyle>
            <a:lvl1pPr marL="107996" indent="-107996" algn="r">
              <a:spcAft>
                <a:spcPts val="0"/>
              </a:spcAft>
              <a:buFont typeface="+mj-lt"/>
              <a:buAutoNum type="arabicPeriod"/>
              <a:defRPr sz="750" b="1"/>
            </a:lvl1pPr>
            <a:lvl2pPr marL="107996" indent="-107996" algn="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75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3"/>
          </p:nvPr>
        </p:nvSpPr>
        <p:spPr>
          <a:xfrm>
            <a:off x="360000" y="4783500"/>
            <a:ext cx="5904000" cy="360000"/>
          </a:xfrm>
          <a:prstGeom prst="rect">
            <a:avLst/>
          </a:prstGeom>
        </p:spPr>
        <p:txBody>
          <a:bodyPr/>
          <a:lstStyle>
            <a:lvl1pPr>
              <a:defRPr sz="750" b="1"/>
            </a:lvl1pPr>
          </a:lstStyle>
          <a:p>
            <a:r>
              <a:rPr lang="fr-FR">
                <a:solidFill>
                  <a:srgbClr val="000000"/>
                </a:solidFill>
              </a:rPr>
              <a:t>Direction interministérielle de la transformation publique – Académie de Versailles</a:t>
            </a:r>
          </a:p>
        </p:txBody>
      </p:sp>
    </p:spTree>
    <p:extLst>
      <p:ext uri="{BB962C8B-B14F-4D97-AF65-F5344CB8AC3E}">
        <p14:creationId xmlns:p14="http://schemas.microsoft.com/office/powerpoint/2010/main" val="13332740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ull screen im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E832AC1-21AF-4DAD-A220-3541D7B3D0D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 and arrange the picture in the background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B0CAFF-8B20-4B52-A18C-BFD139761B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610" y="1463755"/>
            <a:ext cx="3421856" cy="2215991"/>
          </a:xfrm>
        </p:spPr>
        <p:txBody>
          <a:bodyPr vert="horz" wrap="square" lIns="72000" tIns="0" rIns="0" bIns="0" rtlCol="0" anchor="ctr">
            <a:spAutoFit/>
          </a:bodyPr>
          <a:lstStyle>
            <a:lvl1pPr>
              <a:lnSpc>
                <a:spcPct val="80000"/>
              </a:lnSpc>
              <a:defRPr lang="en-GB" sz="45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358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359999" y="900000"/>
            <a:ext cx="8424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59999" y="1836000"/>
            <a:ext cx="8424000" cy="257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50" b="1">
                <a:solidFill>
                  <a:schemeClr val="tx1"/>
                </a:solidFill>
              </a:defRPr>
            </a:lvl1pPr>
          </a:lstStyle>
          <a:p>
            <a:pPr algn="r"/>
            <a:r>
              <a:rPr lang="fr-FR" cap="all"/>
              <a:t>XX/XX/XXXX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360000" y="4783500"/>
            <a:ext cx="5904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/>
              <a:t>Intitulé de la direction/service interministériell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6264000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0" name="Connecteur droit 9"/>
          <p:cNvCxnSpPr/>
          <p:nvPr userDrawn="1"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>
            <a:extLst>
              <a:ext uri="{FF2B5EF4-FFF2-40B4-BE49-F238E27FC236}">
                <a16:creationId xmlns:a16="http://schemas.microsoft.com/office/drawing/2014/main" id="{985C7C26-3777-6343-8C6F-2F6E4C4CEF2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27968"/>
            <a:ext cx="755765" cy="58170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5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05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72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itchFamily="34" charset="0"/>
        <a:buChar char="•"/>
        <a:defRPr sz="95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850" kern="1200">
          <a:solidFill>
            <a:schemeClr val="tx1"/>
          </a:solidFill>
          <a:latin typeface="+mn-lt"/>
          <a:ea typeface="+mn-ea"/>
          <a:cs typeface="+mn-cs"/>
        </a:defRPr>
      </a:lvl3pPr>
      <a:lvl4pPr marL="612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4pPr>
      <a:lvl5pPr marL="828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23471191"/>
              </p:ext>
            </p:ext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303610" y="995363"/>
            <a:ext cx="8532660" cy="38516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03610" y="291142"/>
            <a:ext cx="8210829" cy="53753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TITLE</a:t>
            </a:r>
            <a:endParaRPr lang="en-US"/>
          </a:p>
        </p:txBody>
      </p:sp>
      <p:grpSp>
        <p:nvGrpSpPr>
          <p:cNvPr id="94" name="Groupe 1">
            <a:extLst>
              <a:ext uri="{FF2B5EF4-FFF2-40B4-BE49-F238E27FC236}">
                <a16:creationId xmlns:a16="http://schemas.microsoft.com/office/drawing/2014/main" id="{11A3E882-4152-49CC-A658-0BA2BD4CCF4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71622" y="153794"/>
            <a:ext cx="314577" cy="291741"/>
            <a:chOff x="11501102" y="171573"/>
            <a:chExt cx="419436" cy="388988"/>
          </a:xfrm>
        </p:grpSpPr>
        <p:sp>
          <p:nvSpPr>
            <p:cNvPr id="95" name="Freeform 13">
              <a:extLst>
                <a:ext uri="{FF2B5EF4-FFF2-40B4-BE49-F238E27FC236}">
                  <a16:creationId xmlns:a16="http://schemas.microsoft.com/office/drawing/2014/main" id="{7962C740-AA7F-4225-AF45-30CEC5D857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96" name="Freeform 14">
              <a:extLst>
                <a:ext uri="{FF2B5EF4-FFF2-40B4-BE49-F238E27FC236}">
                  <a16:creationId xmlns:a16="http://schemas.microsoft.com/office/drawing/2014/main" id="{8B6BE8F3-0248-42CC-8053-5B10FA1A6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</p:grpSp>
      <p:sp>
        <p:nvSpPr>
          <p:cNvPr id="65" name="Rectangle 27">
            <a:extLst>
              <a:ext uri="{FF2B5EF4-FFF2-40B4-BE49-F238E27FC236}">
                <a16:creationId xmlns:a16="http://schemas.microsoft.com/office/drawing/2014/main" id="{5B538C81-213B-41EC-BB81-FEF313C9D880}"/>
              </a:ext>
            </a:extLst>
          </p:cNvPr>
          <p:cNvSpPr/>
          <p:nvPr userDrawn="1"/>
        </p:nvSpPr>
        <p:spPr>
          <a:xfrm>
            <a:off x="303610" y="4888403"/>
            <a:ext cx="2558135" cy="16459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25" ker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Presentation Title  |  Author  |  Date</a:t>
            </a:r>
          </a:p>
        </p:txBody>
      </p:sp>
      <p:sp>
        <p:nvSpPr>
          <p:cNvPr id="86" name="Retângulo 43">
            <a:extLst>
              <a:ext uri="{FF2B5EF4-FFF2-40B4-BE49-F238E27FC236}">
                <a16:creationId xmlns:a16="http://schemas.microsoft.com/office/drawing/2014/main" id="{5539996C-DD2A-49D6-AFB0-763FCB2EE440}"/>
              </a:ext>
            </a:extLst>
          </p:cNvPr>
          <p:cNvSpPr/>
          <p:nvPr userDrawn="1"/>
        </p:nvSpPr>
        <p:spPr>
          <a:xfrm>
            <a:off x="8808097" y="4888243"/>
            <a:ext cx="171947" cy="184666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60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sp>
        <p:nvSpPr>
          <p:cNvPr id="89" name="Rectangle 27">
            <a:extLst>
              <a:ext uri="{FF2B5EF4-FFF2-40B4-BE49-F238E27FC236}">
                <a16:creationId xmlns:a16="http://schemas.microsoft.com/office/drawing/2014/main" id="{01D50803-B26A-4936-A06C-6E086A6DD719}"/>
              </a:ext>
            </a:extLst>
          </p:cNvPr>
          <p:cNvSpPr/>
          <p:nvPr userDrawn="1"/>
        </p:nvSpPr>
        <p:spPr>
          <a:xfrm>
            <a:off x="5420302" y="4888403"/>
            <a:ext cx="3399122" cy="16459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525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ompany Confidential © Capgemini Invent 2021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4255116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</p:sldLayoutIdLst>
  <p:hf hdr="0"/>
  <p:txStyles>
    <p:titleStyle>
      <a:lvl1pPr marL="0" marR="0" indent="0" algn="l" defTabSz="6858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1950" b="0" i="0" u="none" strike="noStrike" kern="1200" cap="all" spc="0" normalizeH="0" baseline="0" noProof="0" dirty="0">
          <a:ln>
            <a:noFill/>
          </a:ln>
          <a:solidFill>
            <a:schemeClr val="accent4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5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1pPr>
      <a:lvl2pPr marL="133350" indent="-1333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35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2pPr>
      <a:lvl3pPr marL="271463" indent="-1381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2"/>
        </a:buClr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3pPr>
      <a:lvl4pPr marL="404813" indent="-1333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/>
        </a:buClr>
        <a:buFont typeface="Ubuntu" panose="020B0504030602030204" pitchFamily="34" charset="0"/>
        <a:buChar char="–"/>
        <a:defRPr sz="105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4pPr>
      <a:lvl5pPr marL="538163" indent="-1333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3"/>
        </a:buClr>
        <a:buFont typeface="Arial" panose="020B0604020202020204" pitchFamily="34" charset="0"/>
        <a:buChar char="•"/>
        <a:defRPr sz="105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4071">
          <p15:clr>
            <a:srgbClr val="F26B43"/>
          </p15:clr>
        </p15:guide>
        <p15:guide id="4" pos="255">
          <p15:clr>
            <a:srgbClr val="F26B43"/>
          </p15:clr>
        </p15:guide>
        <p15:guide id="5" orient="horz" pos="836">
          <p15:clr>
            <a:srgbClr val="F26B43"/>
          </p15:clr>
        </p15:guide>
        <p15:guide id="6" orient="horz" pos="245">
          <p15:clr>
            <a:srgbClr val="F26B43"/>
          </p15:clr>
        </p15:guide>
        <p15:guide id="7" pos="3840">
          <p15:clr>
            <a:srgbClr val="F26B43"/>
          </p15:clr>
        </p15:guide>
        <p15:guide id="8" pos="3899">
          <p15:clr>
            <a:srgbClr val="F26B43"/>
          </p15:clr>
        </p15:guide>
        <p15:guide id="9" pos="378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err="1"/>
              <a:t>PréQualification</a:t>
            </a:r>
            <a:r>
              <a:rPr lang="fr-FR"/>
              <a:t> d’opportunité RPA</a:t>
            </a:r>
          </a:p>
          <a:p>
            <a:pPr lvl="1"/>
            <a:r>
              <a:rPr lang="fr-FR"/>
              <a:t>Indus constatés sur rémunération</a:t>
            </a:r>
          </a:p>
          <a:p>
            <a:pPr lvl="1"/>
            <a:r>
              <a:rPr lang="fr-FR" i="1"/>
              <a:t>26/01/22</a:t>
            </a:r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815159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43093EA-537B-4F16-B49F-C3A150F0F291}"/>
              </a:ext>
            </a:extLst>
          </p:cNvPr>
          <p:cNvSpPr/>
          <p:nvPr/>
        </p:nvSpPr>
        <p:spPr>
          <a:xfrm>
            <a:off x="0" y="843558"/>
            <a:ext cx="9144000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1" name="Titre 6">
            <a:extLst>
              <a:ext uri="{FF2B5EF4-FFF2-40B4-BE49-F238E27FC236}">
                <a16:creationId xmlns:a16="http://schemas.microsoft.com/office/drawing/2014/main" id="{EF012AB3-AC73-4331-B3B1-1EC999F3A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6162" y="95418"/>
            <a:ext cx="7631200" cy="478548"/>
          </a:xfrm>
        </p:spPr>
        <p:txBody>
          <a:bodyPr/>
          <a:lstStyle/>
          <a:p>
            <a:r>
              <a:rPr lang="fr-FR" sz="1800"/>
              <a:t>Qualification d’une opportunité d’automatisation</a:t>
            </a:r>
            <a:br>
              <a:rPr lang="fr-FR" sz="1800"/>
            </a:br>
            <a:r>
              <a:rPr lang="fr-FR" sz="1350" b="0" i="1">
                <a:solidFill>
                  <a:schemeClr val="accent4"/>
                </a:solidFill>
              </a:rPr>
              <a:t> Indus constatés sur rémunération</a:t>
            </a:r>
          </a:p>
        </p:txBody>
      </p:sp>
      <p:sp>
        <p:nvSpPr>
          <p:cNvPr id="107" name="Espace réservé du numéro de diapositive 4">
            <a:extLst>
              <a:ext uri="{FF2B5EF4-FFF2-40B4-BE49-F238E27FC236}">
                <a16:creationId xmlns:a16="http://schemas.microsoft.com/office/drawing/2014/main" id="{3B4C0C11-F10E-44B2-84A6-4FF34FAE22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64003" y="4783500"/>
            <a:ext cx="1350000" cy="360000"/>
          </a:xfr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2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2868BC71-EC5D-4DFF-9E2F-D16A60F41A27}"/>
              </a:ext>
            </a:extLst>
          </p:cNvPr>
          <p:cNvSpPr/>
          <p:nvPr/>
        </p:nvSpPr>
        <p:spPr>
          <a:xfrm>
            <a:off x="426763" y="1187673"/>
            <a:ext cx="2584447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91" lvl="2" indent="-128591">
              <a:spcAft>
                <a:spcPts val="151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>
                <a:latin typeface="Calibri" panose="020F0502020204030204" pitchFamily="34" charset="0"/>
                <a:cs typeface="Calibri" panose="020F0502020204030204" pitchFamily="34" charset="0"/>
              </a:rPr>
              <a:t>Confirmer l’éligibilité au RPA</a:t>
            </a:r>
          </a:p>
          <a:p>
            <a:pPr marL="128591" lvl="2" indent="-128591">
              <a:spcAft>
                <a:spcPts val="151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>
                <a:latin typeface="Calibri" panose="020F0502020204030204" pitchFamily="34" charset="0"/>
                <a:cs typeface="Calibri" panose="020F0502020204030204" pitchFamily="34" charset="0"/>
              </a:rPr>
              <a:t>Définir le périmètre d’automatisation </a:t>
            </a:r>
          </a:p>
          <a:p>
            <a:pPr marL="128591" lvl="2" indent="-128591">
              <a:spcAft>
                <a:spcPts val="151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>
                <a:latin typeface="Calibri" panose="020F0502020204030204" pitchFamily="34" charset="0"/>
                <a:cs typeface="Calibri" panose="020F0502020204030204" pitchFamily="34" charset="0"/>
              </a:rPr>
              <a:t>Estimation de la valeur métier</a:t>
            </a:r>
          </a:p>
          <a:p>
            <a:pPr marL="128591" lvl="2" indent="-128591">
              <a:spcAft>
                <a:spcPts val="151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>
                <a:latin typeface="Calibri" panose="020F0502020204030204" pitchFamily="34" charset="0"/>
                <a:cs typeface="Calibri" panose="020F0502020204030204" pitchFamily="34" charset="0"/>
              </a:rPr>
              <a:t>Première évaluation de la complexité 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2663F11-A8F6-4CE4-94C7-8F6CEF6F646B}"/>
              </a:ext>
            </a:extLst>
          </p:cNvPr>
          <p:cNvSpPr/>
          <p:nvPr/>
        </p:nvSpPr>
        <p:spPr>
          <a:xfrm>
            <a:off x="426763" y="932067"/>
            <a:ext cx="218624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s objectifs de la qualification </a:t>
            </a:r>
          </a:p>
        </p:txBody>
      </p:sp>
      <p:pic>
        <p:nvPicPr>
          <p:cNvPr id="80" name="Graphic 79" descr="Bullseye">
            <a:extLst>
              <a:ext uri="{FF2B5EF4-FFF2-40B4-BE49-F238E27FC236}">
                <a16:creationId xmlns:a16="http://schemas.microsoft.com/office/drawing/2014/main" id="{4A9A9508-C158-4CA7-82B0-3B9DEE3456D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8642" y="921022"/>
            <a:ext cx="288000" cy="288000"/>
          </a:xfrm>
          <a:prstGeom prst="rect">
            <a:avLst/>
          </a:prstGeom>
        </p:spPr>
      </p:pic>
      <p:pic>
        <p:nvPicPr>
          <p:cNvPr id="4" name="Graphic 3" descr="Checklist with solid fill">
            <a:extLst>
              <a:ext uri="{FF2B5EF4-FFF2-40B4-BE49-F238E27FC236}">
                <a16:creationId xmlns:a16="http://schemas.microsoft.com/office/drawing/2014/main" id="{5B8170B6-9BFC-4876-B0A2-F3EE13AF67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61743" y="921022"/>
            <a:ext cx="288000" cy="288000"/>
          </a:xfrm>
          <a:prstGeom prst="rect">
            <a:avLst/>
          </a:prstGeom>
        </p:spPr>
      </p:pic>
      <p:sp>
        <p:nvSpPr>
          <p:cNvPr id="92" name="Rectangle 91">
            <a:extLst>
              <a:ext uri="{FF2B5EF4-FFF2-40B4-BE49-F238E27FC236}">
                <a16:creationId xmlns:a16="http://schemas.microsoft.com/office/drawing/2014/main" id="{E462A1C3-FA2E-4562-B676-AE7F60ACA804}"/>
              </a:ext>
            </a:extLst>
          </p:cNvPr>
          <p:cNvSpPr/>
          <p:nvPr/>
        </p:nvSpPr>
        <p:spPr>
          <a:xfrm>
            <a:off x="3449743" y="932067"/>
            <a:ext cx="28909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s Facteurs clés de succès et les prérequis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592E134-13B0-4269-B5C6-43ECE8C36286}"/>
              </a:ext>
            </a:extLst>
          </p:cNvPr>
          <p:cNvSpPr/>
          <p:nvPr/>
        </p:nvSpPr>
        <p:spPr>
          <a:xfrm>
            <a:off x="3497180" y="1187673"/>
            <a:ext cx="5178508" cy="697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91" lvl="2" indent="-128591">
              <a:spcAft>
                <a:spcPts val="151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b="1">
                <a:latin typeface="Calibri" panose="020F0502020204030204" pitchFamily="34" charset="0"/>
                <a:cs typeface="Calibri" panose="020F0502020204030204" pitchFamily="34" charset="0"/>
              </a:rPr>
              <a:t>Harmoniser / Standardiser </a:t>
            </a:r>
            <a:r>
              <a:rPr lang="fr-FR" sz="900">
                <a:latin typeface="Calibri" panose="020F0502020204030204" pitchFamily="34" charset="0"/>
                <a:cs typeface="Calibri" panose="020F0502020204030204" pitchFamily="34" charset="0"/>
              </a:rPr>
              <a:t>le processus avant d’étudier l’opportunité d’automatisation</a:t>
            </a:r>
          </a:p>
          <a:p>
            <a:pPr marL="128591" lvl="2" indent="-128591">
              <a:spcAft>
                <a:spcPts val="151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b="1">
                <a:latin typeface="Calibri" panose="020F0502020204030204" pitchFamily="34" charset="0"/>
                <a:cs typeface="Calibri" panose="020F0502020204030204" pitchFamily="34" charset="0"/>
              </a:rPr>
              <a:t>Nommer les interlocuteurs </a:t>
            </a:r>
            <a:r>
              <a:rPr lang="fr-FR" sz="900">
                <a:latin typeface="Calibri" panose="020F0502020204030204" pitchFamily="34" charset="0"/>
                <a:cs typeface="Calibri" panose="020F0502020204030204" pitchFamily="34" charset="0"/>
              </a:rPr>
              <a:t>et contributeurs clés (Responsable du processus, expert métier, responsable SI) et </a:t>
            </a:r>
            <a:r>
              <a:rPr lang="fr-FR" sz="900" b="1">
                <a:latin typeface="Calibri" panose="020F0502020204030204" pitchFamily="34" charset="0"/>
                <a:cs typeface="Calibri" panose="020F0502020204030204" pitchFamily="34" charset="0"/>
              </a:rPr>
              <a:t>confirmer leur disponibilité</a:t>
            </a:r>
          </a:p>
          <a:p>
            <a:pPr marL="128591" lvl="2" indent="-128591">
              <a:spcAft>
                <a:spcPts val="151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 b="1">
                <a:latin typeface="Calibri" panose="020F0502020204030204" pitchFamily="34" charset="0"/>
                <a:cs typeface="Calibri" panose="020F0502020204030204" pitchFamily="34" charset="0"/>
              </a:rPr>
              <a:t>Valider le document de qualification </a:t>
            </a:r>
            <a:r>
              <a:rPr lang="fr-FR" sz="900">
                <a:latin typeface="Calibri" panose="020F0502020204030204" pitchFamily="34" charset="0"/>
                <a:cs typeface="Calibri" panose="020F0502020204030204" pitchFamily="34" charset="0"/>
              </a:rPr>
              <a:t>(notamment les bénéfices attendus)</a:t>
            </a:r>
          </a:p>
        </p:txBody>
      </p:sp>
      <p:sp>
        <p:nvSpPr>
          <p:cNvPr id="67" name="Arrow: Bent-Up 66">
            <a:extLst>
              <a:ext uri="{FF2B5EF4-FFF2-40B4-BE49-F238E27FC236}">
                <a16:creationId xmlns:a16="http://schemas.microsoft.com/office/drawing/2014/main" id="{CEE3F8BE-9259-4F02-A6BE-2A9104E09751}"/>
              </a:ext>
            </a:extLst>
          </p:cNvPr>
          <p:cNvSpPr/>
          <p:nvPr/>
        </p:nvSpPr>
        <p:spPr>
          <a:xfrm flipV="1">
            <a:off x="7488792" y="2573577"/>
            <a:ext cx="713282" cy="456524"/>
          </a:xfrm>
          <a:prstGeom prst="bentUpArrow">
            <a:avLst>
              <a:gd name="adj1" fmla="val 31144"/>
              <a:gd name="adj2" fmla="val 36804"/>
              <a:gd name="adj3" fmla="val 32663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68" name="Arrow: Bent-Up 67">
            <a:extLst>
              <a:ext uri="{FF2B5EF4-FFF2-40B4-BE49-F238E27FC236}">
                <a16:creationId xmlns:a16="http://schemas.microsoft.com/office/drawing/2014/main" id="{D124D3FB-2FE4-463C-8E34-A08A55B42D24}"/>
              </a:ext>
            </a:extLst>
          </p:cNvPr>
          <p:cNvSpPr/>
          <p:nvPr/>
        </p:nvSpPr>
        <p:spPr>
          <a:xfrm flipH="1" flipV="1">
            <a:off x="1004076" y="2573577"/>
            <a:ext cx="713282" cy="456524"/>
          </a:xfrm>
          <a:prstGeom prst="bentUpArrow">
            <a:avLst>
              <a:gd name="adj1" fmla="val 31144"/>
              <a:gd name="adj2" fmla="val 36804"/>
              <a:gd name="adj3" fmla="val 32663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69" name="Arrow: Down 68">
            <a:extLst>
              <a:ext uri="{FF2B5EF4-FFF2-40B4-BE49-F238E27FC236}">
                <a16:creationId xmlns:a16="http://schemas.microsoft.com/office/drawing/2014/main" id="{49481F59-48E4-457E-AC58-7E2E7DB3AF3A}"/>
              </a:ext>
            </a:extLst>
          </p:cNvPr>
          <p:cNvSpPr/>
          <p:nvPr/>
        </p:nvSpPr>
        <p:spPr>
          <a:xfrm>
            <a:off x="4393167" y="2767213"/>
            <a:ext cx="411243" cy="275574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70" name="Arrow: Down 69">
            <a:extLst>
              <a:ext uri="{FF2B5EF4-FFF2-40B4-BE49-F238E27FC236}">
                <a16:creationId xmlns:a16="http://schemas.microsoft.com/office/drawing/2014/main" id="{87199C05-E45A-4C89-899C-4E61112FAEB3}"/>
              </a:ext>
            </a:extLst>
          </p:cNvPr>
          <p:cNvSpPr/>
          <p:nvPr/>
        </p:nvSpPr>
        <p:spPr>
          <a:xfrm>
            <a:off x="2688773" y="2767213"/>
            <a:ext cx="411243" cy="275574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71" name="Arrow: Down 70">
            <a:extLst>
              <a:ext uri="{FF2B5EF4-FFF2-40B4-BE49-F238E27FC236}">
                <a16:creationId xmlns:a16="http://schemas.microsoft.com/office/drawing/2014/main" id="{E7A3C1C9-3967-4287-A98E-9CC2246AA507}"/>
              </a:ext>
            </a:extLst>
          </p:cNvPr>
          <p:cNvSpPr/>
          <p:nvPr/>
        </p:nvSpPr>
        <p:spPr>
          <a:xfrm>
            <a:off x="6097560" y="2767213"/>
            <a:ext cx="411243" cy="275574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89CDB0C3-92AD-44ED-9322-5EE2997F0C53}"/>
              </a:ext>
            </a:extLst>
          </p:cNvPr>
          <p:cNvSpPr/>
          <p:nvPr/>
        </p:nvSpPr>
        <p:spPr>
          <a:xfrm>
            <a:off x="4314944" y="3090305"/>
            <a:ext cx="567690" cy="567690"/>
          </a:xfrm>
          <a:prstGeom prst="ellipse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fr-FR" sz="1050" kern="0">
              <a:solidFill>
                <a:prstClr val="black"/>
              </a:solidFill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40C88FAD-2C91-4AF5-BA27-28E53307BE66}"/>
              </a:ext>
            </a:extLst>
          </p:cNvPr>
          <p:cNvSpPr/>
          <p:nvPr/>
        </p:nvSpPr>
        <p:spPr>
          <a:xfrm>
            <a:off x="2610550" y="3090305"/>
            <a:ext cx="567690" cy="567690"/>
          </a:xfrm>
          <a:prstGeom prst="ellipse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fr-FR" sz="1050" kern="0">
              <a:solidFill>
                <a:prstClr val="black"/>
              </a:solidFill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2C2C6619-9843-4235-910E-397169CAD792}"/>
              </a:ext>
            </a:extLst>
          </p:cNvPr>
          <p:cNvSpPr/>
          <p:nvPr/>
        </p:nvSpPr>
        <p:spPr>
          <a:xfrm>
            <a:off x="7723732" y="3090305"/>
            <a:ext cx="567690" cy="567690"/>
          </a:xfrm>
          <a:prstGeom prst="ellipse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fr-FR" sz="1050" kern="0">
              <a:solidFill>
                <a:prstClr val="black"/>
              </a:solidFill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B66A60F-AAD4-4337-BFCA-32E7882831A1}"/>
              </a:ext>
            </a:extLst>
          </p:cNvPr>
          <p:cNvSpPr/>
          <p:nvPr/>
        </p:nvSpPr>
        <p:spPr>
          <a:xfrm>
            <a:off x="6019337" y="3090305"/>
            <a:ext cx="567690" cy="567690"/>
          </a:xfrm>
          <a:prstGeom prst="ellipse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fr-FR" sz="1050" kern="0">
              <a:solidFill>
                <a:prstClr val="black"/>
              </a:solidFill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9CA110C5-6E1A-452C-8484-3B62DDA6466E}"/>
              </a:ext>
            </a:extLst>
          </p:cNvPr>
          <p:cNvSpPr/>
          <p:nvPr/>
        </p:nvSpPr>
        <p:spPr>
          <a:xfrm>
            <a:off x="906156" y="3090305"/>
            <a:ext cx="567690" cy="567690"/>
          </a:xfrm>
          <a:prstGeom prst="ellipse">
            <a:avLst/>
          </a:prstGeom>
          <a:solidFill>
            <a:srgbClr val="12ABD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defTabSz="685800">
              <a:defRPr/>
            </a:pPr>
            <a:endParaRPr lang="fr-FR" sz="1050" kern="0">
              <a:solidFill>
                <a:prstClr val="black"/>
              </a:solidFill>
            </a:endParaRPr>
          </a:p>
        </p:txBody>
      </p:sp>
      <p:sp>
        <p:nvSpPr>
          <p:cNvPr id="79" name="Rectangle : coins arrondis 53">
            <a:extLst>
              <a:ext uri="{FF2B5EF4-FFF2-40B4-BE49-F238E27FC236}">
                <a16:creationId xmlns:a16="http://schemas.microsoft.com/office/drawing/2014/main" id="{C67E1E36-04CC-4384-8FCE-D6D3EC4F67E6}"/>
              </a:ext>
            </a:extLst>
          </p:cNvPr>
          <p:cNvSpPr/>
          <p:nvPr/>
        </p:nvSpPr>
        <p:spPr>
          <a:xfrm>
            <a:off x="1454115" y="2504128"/>
            <a:ext cx="6289349" cy="277793"/>
          </a:xfrm>
          <a:prstGeom prst="roundRect">
            <a:avLst>
              <a:gd name="adj" fmla="val 50000"/>
            </a:avLst>
          </a:prstGeom>
          <a:solidFill>
            <a:srgbClr val="1271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itères d’éligibilité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9C733F3-DC2B-4AE4-B4BB-CD41B65EDFBD}"/>
              </a:ext>
            </a:extLst>
          </p:cNvPr>
          <p:cNvSpPr txBox="1"/>
          <p:nvPr/>
        </p:nvSpPr>
        <p:spPr>
          <a:xfrm>
            <a:off x="426763" y="3504408"/>
            <a:ext cx="1553707" cy="492855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>
            <a:noAutofit/>
          </a:bodyPr>
          <a:lstStyle/>
          <a:p>
            <a:pPr algn="ctr" defTabSz="685800">
              <a:defRPr/>
            </a:pPr>
            <a:r>
              <a:rPr lang="fr-FR" sz="900" b="1" i="1" kern="0">
                <a:solidFill>
                  <a:srgbClr val="FFFFFF"/>
                </a:solidFill>
                <a:cs typeface="Calibri"/>
              </a:rPr>
              <a:t>Tâches manuelles et répétitives </a:t>
            </a:r>
            <a:br>
              <a:rPr lang="fr-FR" sz="900" b="1" i="1" kern="0">
                <a:cs typeface="Calibri" panose="020F0502020204030204" pitchFamily="34" charset="0"/>
              </a:rPr>
            </a:br>
            <a:r>
              <a:rPr lang="fr-FR" sz="900" i="1" kern="0">
                <a:solidFill>
                  <a:srgbClr val="FFFFFF"/>
                </a:solidFill>
                <a:cs typeface="Calibri"/>
              </a:rPr>
              <a:t>sur ordinateur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95C7DF2-C6F1-4D29-BBFB-CE88B6C9A4B5}"/>
              </a:ext>
            </a:extLst>
          </p:cNvPr>
          <p:cNvSpPr txBox="1"/>
          <p:nvPr/>
        </p:nvSpPr>
        <p:spPr>
          <a:xfrm>
            <a:off x="2117542" y="3504408"/>
            <a:ext cx="1553707" cy="492855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fr-FR" sz="900" b="1" i="1" kern="0">
                <a:solidFill>
                  <a:srgbClr val="FFFFFF"/>
                </a:solidFill>
                <a:cs typeface="Calibri" panose="020F0502020204030204" pitchFamily="34" charset="0"/>
              </a:rPr>
              <a:t>Processus basé sur des règles</a:t>
            </a:r>
            <a:br>
              <a:rPr lang="fr-FR" sz="900" b="1" i="1" kern="0">
                <a:solidFill>
                  <a:srgbClr val="FFFFFF"/>
                </a:solidFill>
                <a:cs typeface="Calibri" panose="020F0502020204030204" pitchFamily="34" charset="0"/>
              </a:rPr>
            </a:br>
            <a:r>
              <a:rPr lang="fr-FR" sz="900" i="1" kern="0">
                <a:solidFill>
                  <a:srgbClr val="FFFFFF"/>
                </a:solidFill>
                <a:cs typeface="Calibri" panose="020F0502020204030204" pitchFamily="34" charset="0"/>
              </a:rPr>
              <a:t>(pas de jugement humain)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56E77465-A0D7-47C2-A120-97DA6985FA55}"/>
              </a:ext>
            </a:extLst>
          </p:cNvPr>
          <p:cNvSpPr txBox="1"/>
          <p:nvPr/>
        </p:nvSpPr>
        <p:spPr>
          <a:xfrm>
            <a:off x="3821937" y="3504408"/>
            <a:ext cx="1553707" cy="492855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>
            <a:defPPr>
              <a:defRPr lang="de-DE"/>
            </a:defPPr>
            <a:lvl1pPr algn="ctr">
              <a:defRPr sz="105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85800">
              <a:defRPr/>
            </a:pPr>
            <a:r>
              <a:rPr lang="fr-FR" sz="900" b="1" i="1" kern="0">
                <a:solidFill>
                  <a:srgbClr val="FFFFFF"/>
                </a:solidFill>
                <a:cs typeface="Calibri" panose="020F0502020204030204" pitchFamily="34" charset="0"/>
              </a:rPr>
              <a:t>Données numériques structurées</a:t>
            </a:r>
            <a:endParaRPr lang="fr-FR" sz="900" i="1" kern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5C51BA3C-18D9-471D-8CC2-ED4BDC79B42D}"/>
              </a:ext>
            </a:extLst>
          </p:cNvPr>
          <p:cNvSpPr txBox="1"/>
          <p:nvPr/>
        </p:nvSpPr>
        <p:spPr>
          <a:xfrm>
            <a:off x="5526330" y="3504408"/>
            <a:ext cx="1553707" cy="492855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>
            <a:defPPr>
              <a:defRPr lang="de-DE"/>
            </a:defPPr>
            <a:lvl1pPr algn="ctr">
              <a:defRPr sz="105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85800">
              <a:defRPr/>
            </a:pPr>
            <a:r>
              <a:rPr lang="fr-FR" sz="900" b="1" i="1" kern="0">
                <a:solidFill>
                  <a:srgbClr val="FFFFFF"/>
                </a:solidFill>
                <a:cs typeface="Calibri" panose="020F0502020204030204" pitchFamily="34" charset="0"/>
              </a:rPr>
              <a:t>Faible taux d'exception et peu de changements de système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EE00F56-EF42-4290-8257-76433DF41256}"/>
              </a:ext>
            </a:extLst>
          </p:cNvPr>
          <p:cNvSpPr txBox="1"/>
          <p:nvPr/>
        </p:nvSpPr>
        <p:spPr>
          <a:xfrm>
            <a:off x="7230724" y="3504408"/>
            <a:ext cx="1553707" cy="492855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>
            <a:defPPr>
              <a:defRPr lang="de-DE"/>
            </a:defPPr>
            <a:lvl1pPr algn="ctr">
              <a:defRPr sz="105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85800">
              <a:defRPr/>
            </a:pPr>
            <a:r>
              <a:rPr lang="fr-FR" sz="900" b="1" i="1" kern="0">
                <a:solidFill>
                  <a:srgbClr val="FFFFFF"/>
                </a:solidFill>
                <a:cs typeface="Calibri" panose="020F0502020204030204" pitchFamily="34" charset="0"/>
              </a:rPr>
              <a:t>Volume élevé</a:t>
            </a:r>
            <a:endParaRPr lang="fr-FR" sz="900" i="1" kern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grpSp>
        <p:nvGrpSpPr>
          <p:cNvPr id="86" name="Groupe 240">
            <a:extLst>
              <a:ext uri="{FF2B5EF4-FFF2-40B4-BE49-F238E27FC236}">
                <a16:creationId xmlns:a16="http://schemas.microsoft.com/office/drawing/2014/main" id="{4787743A-47EB-4809-93C7-D194FCDBBA97}"/>
              </a:ext>
            </a:extLst>
          </p:cNvPr>
          <p:cNvGrpSpPr>
            <a:grpSpLocks noChangeAspect="1"/>
          </p:cNvGrpSpPr>
          <p:nvPr/>
        </p:nvGrpSpPr>
        <p:grpSpPr>
          <a:xfrm>
            <a:off x="4430845" y="3229427"/>
            <a:ext cx="325274" cy="242769"/>
            <a:chOff x="1131888" y="2006600"/>
            <a:chExt cx="450850" cy="287338"/>
          </a:xfrm>
        </p:grpSpPr>
        <p:sp>
          <p:nvSpPr>
            <p:cNvPr id="87" name="Freeform 689">
              <a:extLst>
                <a:ext uri="{FF2B5EF4-FFF2-40B4-BE49-F238E27FC236}">
                  <a16:creationId xmlns:a16="http://schemas.microsoft.com/office/drawing/2014/main" id="{61B0772E-1804-4CE2-91E4-182706248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1888" y="2006600"/>
              <a:ext cx="450850" cy="287338"/>
            </a:xfrm>
            <a:custGeom>
              <a:avLst/>
              <a:gdLst/>
              <a:ahLst/>
              <a:cxnLst>
                <a:cxn ang="0">
                  <a:pos x="232" y="132"/>
                </a:cxn>
                <a:cxn ang="0">
                  <a:pos x="217" y="148"/>
                </a:cxn>
                <a:cxn ang="0">
                  <a:pos x="15" y="148"/>
                </a:cxn>
                <a:cxn ang="0">
                  <a:pos x="0" y="132"/>
                </a:cxn>
                <a:cxn ang="0">
                  <a:pos x="211" y="132"/>
                </a:cxn>
                <a:cxn ang="0">
                  <a:pos x="211" y="0"/>
                </a:cxn>
                <a:cxn ang="0">
                  <a:pos x="21" y="0"/>
                </a:cxn>
                <a:cxn ang="0">
                  <a:pos x="21" y="114"/>
                </a:cxn>
              </a:cxnLst>
              <a:rect l="0" t="0" r="r" b="b"/>
              <a:pathLst>
                <a:path w="232" h="148">
                  <a:moveTo>
                    <a:pt x="232" y="132"/>
                  </a:moveTo>
                  <a:cubicBezTo>
                    <a:pt x="232" y="141"/>
                    <a:pt x="225" y="148"/>
                    <a:pt x="217" y="148"/>
                  </a:cubicBezTo>
                  <a:cubicBezTo>
                    <a:pt x="15" y="148"/>
                    <a:pt x="15" y="148"/>
                    <a:pt x="15" y="148"/>
                  </a:cubicBezTo>
                  <a:cubicBezTo>
                    <a:pt x="7" y="148"/>
                    <a:pt x="0" y="141"/>
                    <a:pt x="0" y="132"/>
                  </a:cubicBezTo>
                  <a:cubicBezTo>
                    <a:pt x="211" y="132"/>
                    <a:pt x="211" y="132"/>
                    <a:pt x="211" y="132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114"/>
                    <a:pt x="21" y="114"/>
                    <a:pt x="21" y="114"/>
                  </a:cubicBezTo>
                </a:path>
              </a:pathLst>
            </a:custGeom>
            <a:noFill/>
            <a:ln w="12700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88" name="Freeform 690">
              <a:extLst>
                <a:ext uri="{FF2B5EF4-FFF2-40B4-BE49-F238E27FC236}">
                  <a16:creationId xmlns:a16="http://schemas.microsoft.com/office/drawing/2014/main" id="{BA2D5332-4676-456E-8F44-06EF55B84B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625" y="2081213"/>
              <a:ext cx="28575" cy="39688"/>
            </a:xfrm>
            <a:custGeom>
              <a:avLst/>
              <a:gdLst/>
              <a:ahLst/>
              <a:cxnLst>
                <a:cxn ang="0">
                  <a:pos x="8" y="17"/>
                </a:cxn>
                <a:cxn ang="0">
                  <a:pos x="11" y="10"/>
                </a:cxn>
                <a:cxn ang="0">
                  <a:pos x="8" y="4"/>
                </a:cxn>
                <a:cxn ang="0">
                  <a:pos x="4" y="10"/>
                </a:cxn>
                <a:cxn ang="0">
                  <a:pos x="8" y="17"/>
                </a:cxn>
                <a:cxn ang="0">
                  <a:pos x="8" y="0"/>
                </a:cxn>
                <a:cxn ang="0">
                  <a:pos x="15" y="10"/>
                </a:cxn>
                <a:cxn ang="0">
                  <a:pos x="8" y="21"/>
                </a:cxn>
                <a:cxn ang="0">
                  <a:pos x="0" y="10"/>
                </a:cxn>
                <a:cxn ang="0">
                  <a:pos x="8" y="0"/>
                </a:cxn>
              </a:cxnLst>
              <a:rect l="0" t="0" r="r" b="b"/>
              <a:pathLst>
                <a:path w="15" h="21">
                  <a:moveTo>
                    <a:pt x="8" y="17"/>
                  </a:moveTo>
                  <a:cubicBezTo>
                    <a:pt x="10" y="17"/>
                    <a:pt x="11" y="15"/>
                    <a:pt x="11" y="10"/>
                  </a:cubicBezTo>
                  <a:cubicBezTo>
                    <a:pt x="11" y="6"/>
                    <a:pt x="10" y="4"/>
                    <a:pt x="8" y="4"/>
                  </a:cubicBezTo>
                  <a:cubicBezTo>
                    <a:pt x="5" y="4"/>
                    <a:pt x="4" y="6"/>
                    <a:pt x="4" y="10"/>
                  </a:cubicBezTo>
                  <a:cubicBezTo>
                    <a:pt x="4" y="15"/>
                    <a:pt x="6" y="17"/>
                    <a:pt x="8" y="17"/>
                  </a:cubicBezTo>
                  <a:moveTo>
                    <a:pt x="8" y="0"/>
                  </a:moveTo>
                  <a:cubicBezTo>
                    <a:pt x="12" y="0"/>
                    <a:pt x="15" y="4"/>
                    <a:pt x="15" y="10"/>
                  </a:cubicBezTo>
                  <a:cubicBezTo>
                    <a:pt x="15" y="15"/>
                    <a:pt x="14" y="21"/>
                    <a:pt x="8" y="21"/>
                  </a:cubicBezTo>
                  <a:cubicBezTo>
                    <a:pt x="2" y="21"/>
                    <a:pt x="0" y="15"/>
                    <a:pt x="0" y="10"/>
                  </a:cubicBezTo>
                  <a:cubicBezTo>
                    <a:pt x="0" y="4"/>
                    <a:pt x="3" y="0"/>
                    <a:pt x="8" y="0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89" name="Freeform 691">
              <a:extLst>
                <a:ext uri="{FF2B5EF4-FFF2-40B4-BE49-F238E27FC236}">
                  <a16:creationId xmlns:a16="http://schemas.microsoft.com/office/drawing/2014/main" id="{CCBC24AE-4A13-40DB-9EA5-65E2F925E2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2375" y="2081213"/>
              <a:ext cx="17463" cy="39688"/>
            </a:xfrm>
            <a:custGeom>
              <a:avLst/>
              <a:gdLst/>
              <a:ahLst/>
              <a:cxnLst>
                <a:cxn ang="0">
                  <a:pos x="5" y="8"/>
                </a:cxn>
                <a:cxn ang="0">
                  <a:pos x="1" y="8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8" y="0"/>
                </a:cxn>
                <a:cxn ang="0">
                  <a:pos x="9" y="2"/>
                </a:cxn>
                <a:cxn ang="0">
                  <a:pos x="9" y="18"/>
                </a:cxn>
                <a:cxn ang="0">
                  <a:pos x="7" y="21"/>
                </a:cxn>
                <a:cxn ang="0">
                  <a:pos x="5" y="18"/>
                </a:cxn>
                <a:cxn ang="0">
                  <a:pos x="5" y="8"/>
                </a:cxn>
              </a:cxnLst>
              <a:rect l="0" t="0" r="r" b="b"/>
              <a:pathLst>
                <a:path w="9" h="21">
                  <a:moveTo>
                    <a:pt x="5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5"/>
                    <a:pt x="1" y="5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6" y="4"/>
                    <a:pt x="5" y="0"/>
                    <a:pt x="8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20"/>
                    <a:pt x="9" y="21"/>
                    <a:pt x="7" y="21"/>
                  </a:cubicBezTo>
                  <a:cubicBezTo>
                    <a:pt x="6" y="21"/>
                    <a:pt x="5" y="20"/>
                    <a:pt x="5" y="18"/>
                  </a:cubicBezTo>
                  <a:cubicBezTo>
                    <a:pt x="5" y="8"/>
                    <a:pt x="5" y="8"/>
                    <a:pt x="5" y="8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0" name="Freeform 692">
              <a:extLst>
                <a:ext uri="{FF2B5EF4-FFF2-40B4-BE49-F238E27FC236}">
                  <a16:creationId xmlns:a16="http://schemas.microsoft.com/office/drawing/2014/main" id="{601916E8-A020-4ECD-8E3E-2A153D4FA9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6188" y="2081213"/>
              <a:ext cx="28575" cy="39688"/>
            </a:xfrm>
            <a:custGeom>
              <a:avLst/>
              <a:gdLst/>
              <a:ahLst/>
              <a:cxnLst>
                <a:cxn ang="0">
                  <a:pos x="7" y="17"/>
                </a:cxn>
                <a:cxn ang="0">
                  <a:pos x="10" y="10"/>
                </a:cxn>
                <a:cxn ang="0">
                  <a:pos x="7" y="4"/>
                </a:cxn>
                <a:cxn ang="0">
                  <a:pos x="4" y="10"/>
                </a:cxn>
                <a:cxn ang="0">
                  <a:pos x="7" y="17"/>
                </a:cxn>
                <a:cxn ang="0">
                  <a:pos x="7" y="0"/>
                </a:cxn>
                <a:cxn ang="0">
                  <a:pos x="14" y="10"/>
                </a:cxn>
                <a:cxn ang="0">
                  <a:pos x="7" y="21"/>
                </a:cxn>
                <a:cxn ang="0">
                  <a:pos x="0" y="10"/>
                </a:cxn>
                <a:cxn ang="0">
                  <a:pos x="7" y="0"/>
                </a:cxn>
              </a:cxnLst>
              <a:rect l="0" t="0" r="r" b="b"/>
              <a:pathLst>
                <a:path w="14" h="21">
                  <a:moveTo>
                    <a:pt x="7" y="17"/>
                  </a:moveTo>
                  <a:cubicBezTo>
                    <a:pt x="9" y="17"/>
                    <a:pt x="10" y="15"/>
                    <a:pt x="10" y="10"/>
                  </a:cubicBezTo>
                  <a:cubicBezTo>
                    <a:pt x="10" y="6"/>
                    <a:pt x="9" y="4"/>
                    <a:pt x="7" y="4"/>
                  </a:cubicBezTo>
                  <a:cubicBezTo>
                    <a:pt x="5" y="4"/>
                    <a:pt x="4" y="6"/>
                    <a:pt x="4" y="10"/>
                  </a:cubicBezTo>
                  <a:cubicBezTo>
                    <a:pt x="4" y="15"/>
                    <a:pt x="5" y="17"/>
                    <a:pt x="7" y="17"/>
                  </a:cubicBezTo>
                  <a:moveTo>
                    <a:pt x="7" y="0"/>
                  </a:moveTo>
                  <a:cubicBezTo>
                    <a:pt x="12" y="0"/>
                    <a:pt x="14" y="4"/>
                    <a:pt x="14" y="10"/>
                  </a:cubicBezTo>
                  <a:cubicBezTo>
                    <a:pt x="14" y="15"/>
                    <a:pt x="13" y="21"/>
                    <a:pt x="7" y="21"/>
                  </a:cubicBezTo>
                  <a:cubicBezTo>
                    <a:pt x="1" y="21"/>
                    <a:pt x="0" y="15"/>
                    <a:pt x="0" y="10"/>
                  </a:cubicBezTo>
                  <a:cubicBezTo>
                    <a:pt x="0" y="4"/>
                    <a:pt x="3" y="0"/>
                    <a:pt x="7" y="0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1" name="Freeform 693">
              <a:extLst>
                <a:ext uri="{FF2B5EF4-FFF2-40B4-BE49-F238E27FC236}">
                  <a16:creationId xmlns:a16="http://schemas.microsoft.com/office/drawing/2014/main" id="{56195C38-62B9-4FD7-A52F-BD9BBBE0FB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9525" y="2081213"/>
              <a:ext cx="26988" cy="39688"/>
            </a:xfrm>
            <a:custGeom>
              <a:avLst/>
              <a:gdLst/>
              <a:ahLst/>
              <a:cxnLst>
                <a:cxn ang="0">
                  <a:pos x="7" y="17"/>
                </a:cxn>
                <a:cxn ang="0">
                  <a:pos x="10" y="10"/>
                </a:cxn>
                <a:cxn ang="0">
                  <a:pos x="7" y="4"/>
                </a:cxn>
                <a:cxn ang="0">
                  <a:pos x="4" y="10"/>
                </a:cxn>
                <a:cxn ang="0">
                  <a:pos x="7" y="17"/>
                </a:cxn>
                <a:cxn ang="0">
                  <a:pos x="7" y="0"/>
                </a:cxn>
                <a:cxn ang="0">
                  <a:pos x="14" y="10"/>
                </a:cxn>
                <a:cxn ang="0">
                  <a:pos x="7" y="21"/>
                </a:cxn>
                <a:cxn ang="0">
                  <a:pos x="0" y="10"/>
                </a:cxn>
                <a:cxn ang="0">
                  <a:pos x="7" y="0"/>
                </a:cxn>
              </a:cxnLst>
              <a:rect l="0" t="0" r="r" b="b"/>
              <a:pathLst>
                <a:path w="14" h="21">
                  <a:moveTo>
                    <a:pt x="7" y="17"/>
                  </a:moveTo>
                  <a:cubicBezTo>
                    <a:pt x="9" y="17"/>
                    <a:pt x="10" y="15"/>
                    <a:pt x="10" y="10"/>
                  </a:cubicBezTo>
                  <a:cubicBezTo>
                    <a:pt x="10" y="6"/>
                    <a:pt x="9" y="4"/>
                    <a:pt x="7" y="4"/>
                  </a:cubicBezTo>
                  <a:cubicBezTo>
                    <a:pt x="5" y="4"/>
                    <a:pt x="4" y="6"/>
                    <a:pt x="4" y="10"/>
                  </a:cubicBezTo>
                  <a:cubicBezTo>
                    <a:pt x="4" y="15"/>
                    <a:pt x="5" y="17"/>
                    <a:pt x="7" y="17"/>
                  </a:cubicBezTo>
                  <a:moveTo>
                    <a:pt x="7" y="0"/>
                  </a:moveTo>
                  <a:cubicBezTo>
                    <a:pt x="12" y="0"/>
                    <a:pt x="14" y="4"/>
                    <a:pt x="14" y="10"/>
                  </a:cubicBezTo>
                  <a:cubicBezTo>
                    <a:pt x="14" y="15"/>
                    <a:pt x="13" y="21"/>
                    <a:pt x="7" y="21"/>
                  </a:cubicBezTo>
                  <a:cubicBezTo>
                    <a:pt x="1" y="21"/>
                    <a:pt x="0" y="15"/>
                    <a:pt x="0" y="10"/>
                  </a:cubicBezTo>
                  <a:cubicBezTo>
                    <a:pt x="0" y="4"/>
                    <a:pt x="3" y="0"/>
                    <a:pt x="7" y="0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4" name="Freeform 694">
              <a:extLst>
                <a:ext uri="{FF2B5EF4-FFF2-40B4-BE49-F238E27FC236}">
                  <a16:creationId xmlns:a16="http://schemas.microsoft.com/office/drawing/2014/main" id="{DBE682CB-EC43-4216-B18C-EB375D1F0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8100" y="2081213"/>
              <a:ext cx="20638" cy="39688"/>
            </a:xfrm>
            <a:custGeom>
              <a:avLst/>
              <a:gdLst/>
              <a:ahLst/>
              <a:cxnLst>
                <a:cxn ang="0">
                  <a:pos x="5" y="8"/>
                </a:cxn>
                <a:cxn ang="0">
                  <a:pos x="2" y="8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8" y="0"/>
                </a:cxn>
                <a:cxn ang="0">
                  <a:pos x="10" y="2"/>
                </a:cxn>
                <a:cxn ang="0">
                  <a:pos x="10" y="18"/>
                </a:cxn>
                <a:cxn ang="0">
                  <a:pos x="7" y="21"/>
                </a:cxn>
                <a:cxn ang="0">
                  <a:pos x="5" y="18"/>
                </a:cxn>
                <a:cxn ang="0">
                  <a:pos x="5" y="8"/>
                </a:cxn>
              </a:cxnLst>
              <a:rect l="0" t="0" r="r" b="b"/>
              <a:pathLst>
                <a:path w="10" h="21">
                  <a:moveTo>
                    <a:pt x="5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5"/>
                    <a:pt x="1" y="5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6" y="4"/>
                    <a:pt x="6" y="0"/>
                    <a:pt x="8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20"/>
                    <a:pt x="9" y="21"/>
                    <a:pt x="7" y="21"/>
                  </a:cubicBezTo>
                  <a:cubicBezTo>
                    <a:pt x="6" y="21"/>
                    <a:pt x="5" y="20"/>
                    <a:pt x="5" y="18"/>
                  </a:cubicBezTo>
                  <a:cubicBezTo>
                    <a:pt x="5" y="8"/>
                    <a:pt x="5" y="8"/>
                    <a:pt x="5" y="8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5" name="Freeform 695">
              <a:extLst>
                <a:ext uri="{FF2B5EF4-FFF2-40B4-BE49-F238E27FC236}">
                  <a16:creationId xmlns:a16="http://schemas.microsoft.com/office/drawing/2014/main" id="{080902CE-D039-44BD-932A-E79186E82A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33500" y="2081213"/>
              <a:ext cx="30163" cy="39688"/>
            </a:xfrm>
            <a:custGeom>
              <a:avLst/>
              <a:gdLst/>
              <a:ahLst/>
              <a:cxnLst>
                <a:cxn ang="0">
                  <a:pos x="7" y="17"/>
                </a:cxn>
                <a:cxn ang="0">
                  <a:pos x="11" y="10"/>
                </a:cxn>
                <a:cxn ang="0">
                  <a:pos x="7" y="4"/>
                </a:cxn>
                <a:cxn ang="0">
                  <a:pos x="4" y="10"/>
                </a:cxn>
                <a:cxn ang="0">
                  <a:pos x="7" y="17"/>
                </a:cxn>
                <a:cxn ang="0">
                  <a:pos x="7" y="0"/>
                </a:cxn>
                <a:cxn ang="0">
                  <a:pos x="15" y="10"/>
                </a:cxn>
                <a:cxn ang="0">
                  <a:pos x="7" y="21"/>
                </a:cxn>
                <a:cxn ang="0">
                  <a:pos x="0" y="10"/>
                </a:cxn>
                <a:cxn ang="0">
                  <a:pos x="7" y="0"/>
                </a:cxn>
              </a:cxnLst>
              <a:rect l="0" t="0" r="r" b="b"/>
              <a:pathLst>
                <a:path w="15" h="21">
                  <a:moveTo>
                    <a:pt x="7" y="17"/>
                  </a:moveTo>
                  <a:cubicBezTo>
                    <a:pt x="10" y="17"/>
                    <a:pt x="11" y="15"/>
                    <a:pt x="11" y="10"/>
                  </a:cubicBezTo>
                  <a:cubicBezTo>
                    <a:pt x="11" y="6"/>
                    <a:pt x="10" y="4"/>
                    <a:pt x="7" y="4"/>
                  </a:cubicBezTo>
                  <a:cubicBezTo>
                    <a:pt x="5" y="4"/>
                    <a:pt x="4" y="6"/>
                    <a:pt x="4" y="10"/>
                  </a:cubicBezTo>
                  <a:cubicBezTo>
                    <a:pt x="4" y="15"/>
                    <a:pt x="5" y="17"/>
                    <a:pt x="7" y="17"/>
                  </a:cubicBezTo>
                  <a:moveTo>
                    <a:pt x="7" y="0"/>
                  </a:moveTo>
                  <a:cubicBezTo>
                    <a:pt x="12" y="0"/>
                    <a:pt x="15" y="4"/>
                    <a:pt x="15" y="10"/>
                  </a:cubicBezTo>
                  <a:cubicBezTo>
                    <a:pt x="15" y="15"/>
                    <a:pt x="13" y="21"/>
                    <a:pt x="7" y="21"/>
                  </a:cubicBezTo>
                  <a:cubicBezTo>
                    <a:pt x="1" y="21"/>
                    <a:pt x="0" y="15"/>
                    <a:pt x="0" y="10"/>
                  </a:cubicBezTo>
                  <a:cubicBezTo>
                    <a:pt x="0" y="4"/>
                    <a:pt x="3" y="0"/>
                    <a:pt x="7" y="0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6" name="Freeform 696">
              <a:extLst>
                <a:ext uri="{FF2B5EF4-FFF2-40B4-BE49-F238E27FC236}">
                  <a16:creationId xmlns:a16="http://schemas.microsoft.com/office/drawing/2014/main" id="{9151440B-7D3A-431C-B375-585300B2E8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250" y="2081213"/>
              <a:ext cx="17463" cy="39688"/>
            </a:xfrm>
            <a:custGeom>
              <a:avLst/>
              <a:gdLst/>
              <a:ahLst/>
              <a:cxnLst>
                <a:cxn ang="0">
                  <a:pos x="5" y="8"/>
                </a:cxn>
                <a:cxn ang="0">
                  <a:pos x="1" y="8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7" y="0"/>
                </a:cxn>
                <a:cxn ang="0">
                  <a:pos x="9" y="2"/>
                </a:cxn>
                <a:cxn ang="0">
                  <a:pos x="9" y="18"/>
                </a:cxn>
                <a:cxn ang="0">
                  <a:pos x="7" y="21"/>
                </a:cxn>
                <a:cxn ang="0">
                  <a:pos x="5" y="18"/>
                </a:cxn>
                <a:cxn ang="0">
                  <a:pos x="5" y="8"/>
                </a:cxn>
              </a:cxnLst>
              <a:rect l="0" t="0" r="r" b="b"/>
              <a:pathLst>
                <a:path w="9" h="21">
                  <a:moveTo>
                    <a:pt x="5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5"/>
                    <a:pt x="0" y="5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6" y="4"/>
                    <a:pt x="5" y="0"/>
                    <a:pt x="7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20"/>
                    <a:pt x="8" y="21"/>
                    <a:pt x="7" y="21"/>
                  </a:cubicBezTo>
                  <a:cubicBezTo>
                    <a:pt x="5" y="21"/>
                    <a:pt x="5" y="20"/>
                    <a:pt x="5" y="18"/>
                  </a:cubicBezTo>
                  <a:cubicBezTo>
                    <a:pt x="5" y="8"/>
                    <a:pt x="5" y="8"/>
                    <a:pt x="5" y="8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7" name="Freeform 697">
              <a:extLst>
                <a:ext uri="{FF2B5EF4-FFF2-40B4-BE49-F238E27FC236}">
                  <a16:creationId xmlns:a16="http://schemas.microsoft.com/office/drawing/2014/main" id="{3AC450BB-6363-48D2-A408-BE5358E7D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5888" y="2081213"/>
              <a:ext cx="17463" cy="39688"/>
            </a:xfrm>
            <a:custGeom>
              <a:avLst/>
              <a:gdLst/>
              <a:ahLst/>
              <a:cxnLst>
                <a:cxn ang="0">
                  <a:pos x="5" y="8"/>
                </a:cxn>
                <a:cxn ang="0">
                  <a:pos x="1" y="8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8" y="0"/>
                </a:cxn>
                <a:cxn ang="0">
                  <a:pos x="9" y="2"/>
                </a:cxn>
                <a:cxn ang="0">
                  <a:pos x="9" y="18"/>
                </a:cxn>
                <a:cxn ang="0">
                  <a:pos x="7" y="21"/>
                </a:cxn>
                <a:cxn ang="0">
                  <a:pos x="5" y="18"/>
                </a:cxn>
                <a:cxn ang="0">
                  <a:pos x="5" y="8"/>
                </a:cxn>
              </a:cxnLst>
              <a:rect l="0" t="0" r="r" b="b"/>
              <a:pathLst>
                <a:path w="9" h="21">
                  <a:moveTo>
                    <a:pt x="5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5"/>
                    <a:pt x="0" y="5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6" y="4"/>
                    <a:pt x="5" y="0"/>
                    <a:pt x="8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20"/>
                    <a:pt x="9" y="21"/>
                    <a:pt x="7" y="21"/>
                  </a:cubicBezTo>
                  <a:cubicBezTo>
                    <a:pt x="5" y="21"/>
                    <a:pt x="5" y="20"/>
                    <a:pt x="5" y="18"/>
                  </a:cubicBezTo>
                  <a:cubicBezTo>
                    <a:pt x="5" y="8"/>
                    <a:pt x="5" y="8"/>
                    <a:pt x="5" y="8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8" name="Freeform 698">
              <a:extLst>
                <a:ext uri="{FF2B5EF4-FFF2-40B4-BE49-F238E27FC236}">
                  <a16:creationId xmlns:a16="http://schemas.microsoft.com/office/drawing/2014/main" id="{9D09C5E8-728C-446F-8357-EB9807581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1288" y="2081213"/>
              <a:ext cx="26988" cy="39688"/>
            </a:xfrm>
            <a:custGeom>
              <a:avLst/>
              <a:gdLst/>
              <a:ahLst/>
              <a:cxnLst>
                <a:cxn ang="0">
                  <a:pos x="7" y="17"/>
                </a:cxn>
                <a:cxn ang="0">
                  <a:pos x="10" y="10"/>
                </a:cxn>
                <a:cxn ang="0">
                  <a:pos x="7" y="4"/>
                </a:cxn>
                <a:cxn ang="0">
                  <a:pos x="4" y="10"/>
                </a:cxn>
                <a:cxn ang="0">
                  <a:pos x="7" y="17"/>
                </a:cxn>
                <a:cxn ang="0">
                  <a:pos x="7" y="0"/>
                </a:cxn>
                <a:cxn ang="0">
                  <a:pos x="14" y="10"/>
                </a:cxn>
                <a:cxn ang="0">
                  <a:pos x="7" y="21"/>
                </a:cxn>
                <a:cxn ang="0">
                  <a:pos x="0" y="10"/>
                </a:cxn>
                <a:cxn ang="0">
                  <a:pos x="7" y="0"/>
                </a:cxn>
              </a:cxnLst>
              <a:rect l="0" t="0" r="r" b="b"/>
              <a:pathLst>
                <a:path w="14" h="21">
                  <a:moveTo>
                    <a:pt x="7" y="17"/>
                  </a:moveTo>
                  <a:cubicBezTo>
                    <a:pt x="9" y="17"/>
                    <a:pt x="10" y="15"/>
                    <a:pt x="10" y="10"/>
                  </a:cubicBezTo>
                  <a:cubicBezTo>
                    <a:pt x="10" y="6"/>
                    <a:pt x="9" y="4"/>
                    <a:pt x="7" y="4"/>
                  </a:cubicBezTo>
                  <a:cubicBezTo>
                    <a:pt x="5" y="4"/>
                    <a:pt x="4" y="6"/>
                    <a:pt x="4" y="10"/>
                  </a:cubicBezTo>
                  <a:cubicBezTo>
                    <a:pt x="4" y="15"/>
                    <a:pt x="5" y="17"/>
                    <a:pt x="7" y="17"/>
                  </a:cubicBezTo>
                  <a:moveTo>
                    <a:pt x="7" y="0"/>
                  </a:moveTo>
                  <a:cubicBezTo>
                    <a:pt x="11" y="0"/>
                    <a:pt x="14" y="4"/>
                    <a:pt x="14" y="10"/>
                  </a:cubicBezTo>
                  <a:cubicBezTo>
                    <a:pt x="14" y="15"/>
                    <a:pt x="13" y="21"/>
                    <a:pt x="7" y="21"/>
                  </a:cubicBezTo>
                  <a:cubicBezTo>
                    <a:pt x="1" y="21"/>
                    <a:pt x="0" y="15"/>
                    <a:pt x="0" y="10"/>
                  </a:cubicBezTo>
                  <a:cubicBezTo>
                    <a:pt x="0" y="4"/>
                    <a:pt x="2" y="0"/>
                    <a:pt x="7" y="0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9" name="Freeform 699">
              <a:extLst>
                <a:ext uri="{FF2B5EF4-FFF2-40B4-BE49-F238E27FC236}">
                  <a16:creationId xmlns:a16="http://schemas.microsoft.com/office/drawing/2014/main" id="{17DDC459-F627-4577-AF98-87CDD27FB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863" y="2081213"/>
              <a:ext cx="17463" cy="39688"/>
            </a:xfrm>
            <a:custGeom>
              <a:avLst/>
              <a:gdLst/>
              <a:ahLst/>
              <a:cxnLst>
                <a:cxn ang="0">
                  <a:pos x="5" y="8"/>
                </a:cxn>
                <a:cxn ang="0">
                  <a:pos x="2" y="8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8" y="0"/>
                </a:cxn>
                <a:cxn ang="0">
                  <a:pos x="9" y="2"/>
                </a:cxn>
                <a:cxn ang="0">
                  <a:pos x="9" y="18"/>
                </a:cxn>
                <a:cxn ang="0">
                  <a:pos x="7" y="21"/>
                </a:cxn>
                <a:cxn ang="0">
                  <a:pos x="5" y="18"/>
                </a:cxn>
                <a:cxn ang="0">
                  <a:pos x="5" y="8"/>
                </a:cxn>
              </a:cxnLst>
              <a:rect l="0" t="0" r="r" b="b"/>
              <a:pathLst>
                <a:path w="9" h="21">
                  <a:moveTo>
                    <a:pt x="5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5"/>
                    <a:pt x="1" y="5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6" y="4"/>
                    <a:pt x="5" y="0"/>
                    <a:pt x="8" y="0"/>
                  </a:cubicBezTo>
                  <a:cubicBezTo>
                    <a:pt x="9" y="0"/>
                    <a:pt x="9" y="1"/>
                    <a:pt x="9" y="2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20"/>
                    <a:pt x="9" y="21"/>
                    <a:pt x="7" y="21"/>
                  </a:cubicBezTo>
                  <a:cubicBezTo>
                    <a:pt x="6" y="21"/>
                    <a:pt x="5" y="20"/>
                    <a:pt x="5" y="18"/>
                  </a:cubicBezTo>
                  <a:cubicBezTo>
                    <a:pt x="5" y="8"/>
                    <a:pt x="5" y="8"/>
                    <a:pt x="5" y="8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0" name="Freeform 700">
              <a:extLst>
                <a:ext uri="{FF2B5EF4-FFF2-40B4-BE49-F238E27FC236}">
                  <a16:creationId xmlns:a16="http://schemas.microsoft.com/office/drawing/2014/main" id="{A8843129-589D-407F-AB59-139F58AE00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5263" y="2081213"/>
              <a:ext cx="30163" cy="39688"/>
            </a:xfrm>
            <a:custGeom>
              <a:avLst/>
              <a:gdLst/>
              <a:ahLst/>
              <a:cxnLst>
                <a:cxn ang="0">
                  <a:pos x="7" y="17"/>
                </a:cxn>
                <a:cxn ang="0">
                  <a:pos x="11" y="10"/>
                </a:cxn>
                <a:cxn ang="0">
                  <a:pos x="7" y="4"/>
                </a:cxn>
                <a:cxn ang="0">
                  <a:pos x="4" y="10"/>
                </a:cxn>
                <a:cxn ang="0">
                  <a:pos x="7" y="17"/>
                </a:cxn>
                <a:cxn ang="0">
                  <a:pos x="7" y="0"/>
                </a:cxn>
                <a:cxn ang="0">
                  <a:pos x="15" y="10"/>
                </a:cxn>
                <a:cxn ang="0">
                  <a:pos x="7" y="21"/>
                </a:cxn>
                <a:cxn ang="0">
                  <a:pos x="0" y="10"/>
                </a:cxn>
                <a:cxn ang="0">
                  <a:pos x="7" y="0"/>
                </a:cxn>
              </a:cxnLst>
              <a:rect l="0" t="0" r="r" b="b"/>
              <a:pathLst>
                <a:path w="15" h="21">
                  <a:moveTo>
                    <a:pt x="7" y="17"/>
                  </a:moveTo>
                  <a:cubicBezTo>
                    <a:pt x="9" y="17"/>
                    <a:pt x="11" y="15"/>
                    <a:pt x="11" y="10"/>
                  </a:cubicBezTo>
                  <a:cubicBezTo>
                    <a:pt x="11" y="6"/>
                    <a:pt x="10" y="4"/>
                    <a:pt x="7" y="4"/>
                  </a:cubicBezTo>
                  <a:cubicBezTo>
                    <a:pt x="5" y="4"/>
                    <a:pt x="4" y="6"/>
                    <a:pt x="4" y="10"/>
                  </a:cubicBezTo>
                  <a:cubicBezTo>
                    <a:pt x="4" y="15"/>
                    <a:pt x="5" y="17"/>
                    <a:pt x="7" y="17"/>
                  </a:cubicBezTo>
                  <a:moveTo>
                    <a:pt x="7" y="0"/>
                  </a:moveTo>
                  <a:cubicBezTo>
                    <a:pt x="12" y="0"/>
                    <a:pt x="15" y="4"/>
                    <a:pt x="15" y="10"/>
                  </a:cubicBezTo>
                  <a:cubicBezTo>
                    <a:pt x="15" y="15"/>
                    <a:pt x="13" y="21"/>
                    <a:pt x="7" y="21"/>
                  </a:cubicBezTo>
                  <a:cubicBezTo>
                    <a:pt x="1" y="21"/>
                    <a:pt x="0" y="15"/>
                    <a:pt x="0" y="10"/>
                  </a:cubicBezTo>
                  <a:cubicBezTo>
                    <a:pt x="0" y="4"/>
                    <a:pt x="3" y="0"/>
                    <a:pt x="7" y="0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1" name="Freeform 701">
              <a:extLst>
                <a:ext uri="{FF2B5EF4-FFF2-40B4-BE49-F238E27FC236}">
                  <a16:creationId xmlns:a16="http://schemas.microsoft.com/office/drawing/2014/main" id="{4FB7EE28-975A-4FA9-85CA-7E847013FC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8600" y="2081213"/>
              <a:ext cx="28575" cy="39688"/>
            </a:xfrm>
            <a:custGeom>
              <a:avLst/>
              <a:gdLst/>
              <a:ahLst/>
              <a:cxnLst>
                <a:cxn ang="0">
                  <a:pos x="7" y="17"/>
                </a:cxn>
                <a:cxn ang="0">
                  <a:pos x="11" y="10"/>
                </a:cxn>
                <a:cxn ang="0">
                  <a:pos x="7" y="4"/>
                </a:cxn>
                <a:cxn ang="0">
                  <a:pos x="4" y="10"/>
                </a:cxn>
                <a:cxn ang="0">
                  <a:pos x="7" y="17"/>
                </a:cxn>
                <a:cxn ang="0">
                  <a:pos x="7" y="0"/>
                </a:cxn>
                <a:cxn ang="0">
                  <a:pos x="15" y="10"/>
                </a:cxn>
                <a:cxn ang="0">
                  <a:pos x="7" y="21"/>
                </a:cxn>
                <a:cxn ang="0">
                  <a:pos x="0" y="10"/>
                </a:cxn>
                <a:cxn ang="0">
                  <a:pos x="7" y="0"/>
                </a:cxn>
              </a:cxnLst>
              <a:rect l="0" t="0" r="r" b="b"/>
              <a:pathLst>
                <a:path w="15" h="21">
                  <a:moveTo>
                    <a:pt x="7" y="17"/>
                  </a:moveTo>
                  <a:cubicBezTo>
                    <a:pt x="9" y="17"/>
                    <a:pt x="11" y="15"/>
                    <a:pt x="11" y="10"/>
                  </a:cubicBezTo>
                  <a:cubicBezTo>
                    <a:pt x="11" y="6"/>
                    <a:pt x="10" y="4"/>
                    <a:pt x="7" y="4"/>
                  </a:cubicBezTo>
                  <a:cubicBezTo>
                    <a:pt x="5" y="4"/>
                    <a:pt x="4" y="6"/>
                    <a:pt x="4" y="10"/>
                  </a:cubicBezTo>
                  <a:cubicBezTo>
                    <a:pt x="4" y="15"/>
                    <a:pt x="5" y="17"/>
                    <a:pt x="7" y="17"/>
                  </a:cubicBezTo>
                  <a:moveTo>
                    <a:pt x="7" y="0"/>
                  </a:moveTo>
                  <a:cubicBezTo>
                    <a:pt x="12" y="0"/>
                    <a:pt x="15" y="4"/>
                    <a:pt x="15" y="10"/>
                  </a:cubicBezTo>
                  <a:cubicBezTo>
                    <a:pt x="15" y="15"/>
                    <a:pt x="13" y="21"/>
                    <a:pt x="7" y="21"/>
                  </a:cubicBezTo>
                  <a:cubicBezTo>
                    <a:pt x="1" y="21"/>
                    <a:pt x="0" y="15"/>
                    <a:pt x="0" y="10"/>
                  </a:cubicBezTo>
                  <a:cubicBezTo>
                    <a:pt x="0" y="4"/>
                    <a:pt x="3" y="0"/>
                    <a:pt x="7" y="0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2" name="Freeform 702">
              <a:extLst>
                <a:ext uri="{FF2B5EF4-FFF2-40B4-BE49-F238E27FC236}">
                  <a16:creationId xmlns:a16="http://schemas.microsoft.com/office/drawing/2014/main" id="{117D2403-43A8-45AF-ABCF-B4CF49FCFC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625" y="2146300"/>
              <a:ext cx="28575" cy="39688"/>
            </a:xfrm>
            <a:custGeom>
              <a:avLst/>
              <a:gdLst/>
              <a:ahLst/>
              <a:cxnLst>
                <a:cxn ang="0">
                  <a:pos x="8" y="17"/>
                </a:cxn>
                <a:cxn ang="0">
                  <a:pos x="11" y="10"/>
                </a:cxn>
                <a:cxn ang="0">
                  <a:pos x="8" y="3"/>
                </a:cxn>
                <a:cxn ang="0">
                  <a:pos x="4" y="10"/>
                </a:cxn>
                <a:cxn ang="0">
                  <a:pos x="8" y="17"/>
                </a:cxn>
                <a:cxn ang="0">
                  <a:pos x="8" y="0"/>
                </a:cxn>
                <a:cxn ang="0">
                  <a:pos x="15" y="10"/>
                </a:cxn>
                <a:cxn ang="0">
                  <a:pos x="8" y="20"/>
                </a:cxn>
                <a:cxn ang="0">
                  <a:pos x="0" y="10"/>
                </a:cxn>
                <a:cxn ang="0">
                  <a:pos x="8" y="0"/>
                </a:cxn>
              </a:cxnLst>
              <a:rect l="0" t="0" r="r" b="b"/>
              <a:pathLst>
                <a:path w="15" h="20">
                  <a:moveTo>
                    <a:pt x="8" y="17"/>
                  </a:moveTo>
                  <a:cubicBezTo>
                    <a:pt x="10" y="17"/>
                    <a:pt x="11" y="15"/>
                    <a:pt x="11" y="10"/>
                  </a:cubicBezTo>
                  <a:cubicBezTo>
                    <a:pt x="11" y="6"/>
                    <a:pt x="10" y="3"/>
                    <a:pt x="8" y="3"/>
                  </a:cubicBezTo>
                  <a:cubicBezTo>
                    <a:pt x="5" y="3"/>
                    <a:pt x="4" y="6"/>
                    <a:pt x="4" y="10"/>
                  </a:cubicBezTo>
                  <a:cubicBezTo>
                    <a:pt x="4" y="15"/>
                    <a:pt x="6" y="17"/>
                    <a:pt x="8" y="17"/>
                  </a:cubicBezTo>
                  <a:moveTo>
                    <a:pt x="8" y="0"/>
                  </a:moveTo>
                  <a:cubicBezTo>
                    <a:pt x="12" y="0"/>
                    <a:pt x="15" y="3"/>
                    <a:pt x="15" y="10"/>
                  </a:cubicBezTo>
                  <a:cubicBezTo>
                    <a:pt x="15" y="14"/>
                    <a:pt x="14" y="20"/>
                    <a:pt x="8" y="20"/>
                  </a:cubicBezTo>
                  <a:cubicBezTo>
                    <a:pt x="2" y="20"/>
                    <a:pt x="0" y="14"/>
                    <a:pt x="0" y="10"/>
                  </a:cubicBezTo>
                  <a:cubicBezTo>
                    <a:pt x="0" y="3"/>
                    <a:pt x="3" y="0"/>
                    <a:pt x="8" y="0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3" name="Freeform 703">
              <a:extLst>
                <a:ext uri="{FF2B5EF4-FFF2-40B4-BE49-F238E27FC236}">
                  <a16:creationId xmlns:a16="http://schemas.microsoft.com/office/drawing/2014/main" id="{EE55E32E-E37E-4F91-BBB8-E6A34D00D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2375" y="2146300"/>
              <a:ext cx="17463" cy="39688"/>
            </a:xfrm>
            <a:custGeom>
              <a:avLst/>
              <a:gdLst/>
              <a:ahLst/>
              <a:cxnLst>
                <a:cxn ang="0">
                  <a:pos x="5" y="7"/>
                </a:cxn>
                <a:cxn ang="0">
                  <a:pos x="1" y="7"/>
                </a:cxn>
                <a:cxn ang="0">
                  <a:pos x="0" y="5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8" y="0"/>
                </a:cxn>
                <a:cxn ang="0">
                  <a:pos x="9" y="2"/>
                </a:cxn>
                <a:cxn ang="0">
                  <a:pos x="9" y="17"/>
                </a:cxn>
                <a:cxn ang="0">
                  <a:pos x="7" y="20"/>
                </a:cxn>
                <a:cxn ang="0">
                  <a:pos x="5" y="17"/>
                </a:cxn>
                <a:cxn ang="0">
                  <a:pos x="5" y="7"/>
                </a:cxn>
              </a:cxnLst>
              <a:rect l="0" t="0" r="r" b="b"/>
              <a:pathLst>
                <a:path w="9" h="20">
                  <a:moveTo>
                    <a:pt x="5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5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6" y="3"/>
                    <a:pt x="5" y="0"/>
                    <a:pt x="8" y="0"/>
                  </a:cubicBezTo>
                  <a:cubicBezTo>
                    <a:pt x="8" y="0"/>
                    <a:pt x="9" y="0"/>
                    <a:pt x="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9"/>
                    <a:pt x="9" y="20"/>
                    <a:pt x="7" y="20"/>
                  </a:cubicBezTo>
                  <a:cubicBezTo>
                    <a:pt x="6" y="20"/>
                    <a:pt x="5" y="19"/>
                    <a:pt x="5" y="17"/>
                  </a:cubicBezTo>
                  <a:cubicBezTo>
                    <a:pt x="5" y="7"/>
                    <a:pt x="5" y="7"/>
                    <a:pt x="5" y="7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4" name="Freeform 704">
              <a:extLst>
                <a:ext uri="{FF2B5EF4-FFF2-40B4-BE49-F238E27FC236}">
                  <a16:creationId xmlns:a16="http://schemas.microsoft.com/office/drawing/2014/main" id="{D563EC7C-8CC3-4552-AE06-9ADA8B0800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6188" y="2146300"/>
              <a:ext cx="28575" cy="39688"/>
            </a:xfrm>
            <a:custGeom>
              <a:avLst/>
              <a:gdLst/>
              <a:ahLst/>
              <a:cxnLst>
                <a:cxn ang="0">
                  <a:pos x="7" y="17"/>
                </a:cxn>
                <a:cxn ang="0">
                  <a:pos x="10" y="10"/>
                </a:cxn>
                <a:cxn ang="0">
                  <a:pos x="7" y="3"/>
                </a:cxn>
                <a:cxn ang="0">
                  <a:pos x="4" y="10"/>
                </a:cxn>
                <a:cxn ang="0">
                  <a:pos x="7" y="17"/>
                </a:cxn>
                <a:cxn ang="0">
                  <a:pos x="7" y="0"/>
                </a:cxn>
                <a:cxn ang="0">
                  <a:pos x="14" y="10"/>
                </a:cxn>
                <a:cxn ang="0">
                  <a:pos x="7" y="20"/>
                </a:cxn>
                <a:cxn ang="0">
                  <a:pos x="0" y="10"/>
                </a:cxn>
                <a:cxn ang="0">
                  <a:pos x="7" y="0"/>
                </a:cxn>
              </a:cxnLst>
              <a:rect l="0" t="0" r="r" b="b"/>
              <a:pathLst>
                <a:path w="14" h="20">
                  <a:moveTo>
                    <a:pt x="7" y="17"/>
                  </a:moveTo>
                  <a:cubicBezTo>
                    <a:pt x="9" y="17"/>
                    <a:pt x="10" y="15"/>
                    <a:pt x="10" y="10"/>
                  </a:cubicBezTo>
                  <a:cubicBezTo>
                    <a:pt x="10" y="6"/>
                    <a:pt x="9" y="3"/>
                    <a:pt x="7" y="3"/>
                  </a:cubicBezTo>
                  <a:cubicBezTo>
                    <a:pt x="5" y="3"/>
                    <a:pt x="4" y="6"/>
                    <a:pt x="4" y="10"/>
                  </a:cubicBezTo>
                  <a:cubicBezTo>
                    <a:pt x="4" y="15"/>
                    <a:pt x="5" y="17"/>
                    <a:pt x="7" y="17"/>
                  </a:cubicBezTo>
                  <a:moveTo>
                    <a:pt x="7" y="0"/>
                  </a:moveTo>
                  <a:cubicBezTo>
                    <a:pt x="12" y="0"/>
                    <a:pt x="14" y="3"/>
                    <a:pt x="14" y="10"/>
                  </a:cubicBezTo>
                  <a:cubicBezTo>
                    <a:pt x="14" y="14"/>
                    <a:pt x="13" y="20"/>
                    <a:pt x="7" y="20"/>
                  </a:cubicBezTo>
                  <a:cubicBezTo>
                    <a:pt x="1" y="20"/>
                    <a:pt x="0" y="14"/>
                    <a:pt x="0" y="10"/>
                  </a:cubicBezTo>
                  <a:cubicBezTo>
                    <a:pt x="0" y="3"/>
                    <a:pt x="3" y="0"/>
                    <a:pt x="7" y="0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5" name="Freeform 705">
              <a:extLst>
                <a:ext uri="{FF2B5EF4-FFF2-40B4-BE49-F238E27FC236}">
                  <a16:creationId xmlns:a16="http://schemas.microsoft.com/office/drawing/2014/main" id="{A3FE9BA0-165A-4B5D-8776-0FC77C2616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6350" y="2146300"/>
              <a:ext cx="19050" cy="39688"/>
            </a:xfrm>
            <a:custGeom>
              <a:avLst/>
              <a:gdLst/>
              <a:ahLst/>
              <a:cxnLst>
                <a:cxn ang="0">
                  <a:pos x="5" y="7"/>
                </a:cxn>
                <a:cxn ang="0">
                  <a:pos x="2" y="7"/>
                </a:cxn>
                <a:cxn ang="0">
                  <a:pos x="0" y="5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8" y="0"/>
                </a:cxn>
                <a:cxn ang="0">
                  <a:pos x="10" y="2"/>
                </a:cxn>
                <a:cxn ang="0">
                  <a:pos x="10" y="17"/>
                </a:cxn>
                <a:cxn ang="0">
                  <a:pos x="7" y="20"/>
                </a:cxn>
                <a:cxn ang="0">
                  <a:pos x="5" y="17"/>
                </a:cxn>
                <a:cxn ang="0">
                  <a:pos x="5" y="7"/>
                </a:cxn>
              </a:cxnLst>
              <a:rect l="0" t="0" r="r" b="b"/>
              <a:pathLst>
                <a:path w="10" h="20">
                  <a:moveTo>
                    <a:pt x="5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0" y="7"/>
                    <a:pt x="0" y="5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6" y="3"/>
                    <a:pt x="6" y="0"/>
                    <a:pt x="8" y="0"/>
                  </a:cubicBezTo>
                  <a:cubicBezTo>
                    <a:pt x="9" y="0"/>
                    <a:pt x="10" y="0"/>
                    <a:pt x="10" y="2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9"/>
                    <a:pt x="9" y="20"/>
                    <a:pt x="7" y="20"/>
                  </a:cubicBezTo>
                  <a:cubicBezTo>
                    <a:pt x="6" y="20"/>
                    <a:pt x="5" y="19"/>
                    <a:pt x="5" y="17"/>
                  </a:cubicBezTo>
                  <a:cubicBezTo>
                    <a:pt x="5" y="7"/>
                    <a:pt x="5" y="7"/>
                    <a:pt x="5" y="7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6" name="Freeform 706">
              <a:extLst>
                <a:ext uri="{FF2B5EF4-FFF2-40B4-BE49-F238E27FC236}">
                  <a16:creationId xmlns:a16="http://schemas.microsoft.com/office/drawing/2014/main" id="{59CCDAD9-E44D-4647-88E2-5C5C71AA9F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8575" y="2146300"/>
              <a:ext cx="17463" cy="39688"/>
            </a:xfrm>
            <a:custGeom>
              <a:avLst/>
              <a:gdLst/>
              <a:ahLst/>
              <a:cxnLst>
                <a:cxn ang="0">
                  <a:pos x="5" y="7"/>
                </a:cxn>
                <a:cxn ang="0">
                  <a:pos x="1" y="7"/>
                </a:cxn>
                <a:cxn ang="0">
                  <a:pos x="0" y="5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7" y="0"/>
                </a:cxn>
                <a:cxn ang="0">
                  <a:pos x="9" y="2"/>
                </a:cxn>
                <a:cxn ang="0">
                  <a:pos x="9" y="17"/>
                </a:cxn>
                <a:cxn ang="0">
                  <a:pos x="7" y="20"/>
                </a:cxn>
                <a:cxn ang="0">
                  <a:pos x="5" y="17"/>
                </a:cxn>
                <a:cxn ang="0">
                  <a:pos x="5" y="7"/>
                </a:cxn>
              </a:cxnLst>
              <a:rect l="0" t="0" r="r" b="b"/>
              <a:pathLst>
                <a:path w="9" h="20">
                  <a:moveTo>
                    <a:pt x="5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5"/>
                  </a:cubicBezTo>
                  <a:cubicBezTo>
                    <a:pt x="0" y="4"/>
                    <a:pt x="0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6" y="3"/>
                    <a:pt x="5" y="0"/>
                    <a:pt x="7" y="0"/>
                  </a:cubicBezTo>
                  <a:cubicBezTo>
                    <a:pt x="8" y="0"/>
                    <a:pt x="9" y="0"/>
                    <a:pt x="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9"/>
                    <a:pt x="8" y="20"/>
                    <a:pt x="7" y="20"/>
                  </a:cubicBezTo>
                  <a:cubicBezTo>
                    <a:pt x="5" y="20"/>
                    <a:pt x="5" y="19"/>
                    <a:pt x="5" y="17"/>
                  </a:cubicBezTo>
                  <a:cubicBezTo>
                    <a:pt x="5" y="7"/>
                    <a:pt x="5" y="7"/>
                    <a:pt x="5" y="7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8" name="Freeform 707">
              <a:extLst>
                <a:ext uri="{FF2B5EF4-FFF2-40B4-BE49-F238E27FC236}">
                  <a16:creationId xmlns:a16="http://schemas.microsoft.com/office/drawing/2014/main" id="{F8C1E5F2-3744-4BAE-A218-2E686C978A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22388" y="2146300"/>
              <a:ext cx="28575" cy="39688"/>
            </a:xfrm>
            <a:custGeom>
              <a:avLst/>
              <a:gdLst/>
              <a:ahLst/>
              <a:cxnLst>
                <a:cxn ang="0">
                  <a:pos x="8" y="17"/>
                </a:cxn>
                <a:cxn ang="0">
                  <a:pos x="11" y="10"/>
                </a:cxn>
                <a:cxn ang="0">
                  <a:pos x="8" y="3"/>
                </a:cxn>
                <a:cxn ang="0">
                  <a:pos x="4" y="10"/>
                </a:cxn>
                <a:cxn ang="0">
                  <a:pos x="8" y="17"/>
                </a:cxn>
                <a:cxn ang="0">
                  <a:pos x="8" y="0"/>
                </a:cxn>
                <a:cxn ang="0">
                  <a:pos x="15" y="10"/>
                </a:cxn>
                <a:cxn ang="0">
                  <a:pos x="8" y="20"/>
                </a:cxn>
                <a:cxn ang="0">
                  <a:pos x="0" y="10"/>
                </a:cxn>
                <a:cxn ang="0">
                  <a:pos x="8" y="0"/>
                </a:cxn>
              </a:cxnLst>
              <a:rect l="0" t="0" r="r" b="b"/>
              <a:pathLst>
                <a:path w="15" h="20">
                  <a:moveTo>
                    <a:pt x="8" y="17"/>
                  </a:moveTo>
                  <a:cubicBezTo>
                    <a:pt x="10" y="17"/>
                    <a:pt x="11" y="15"/>
                    <a:pt x="11" y="10"/>
                  </a:cubicBezTo>
                  <a:cubicBezTo>
                    <a:pt x="11" y="6"/>
                    <a:pt x="10" y="3"/>
                    <a:pt x="8" y="3"/>
                  </a:cubicBezTo>
                  <a:cubicBezTo>
                    <a:pt x="5" y="3"/>
                    <a:pt x="4" y="6"/>
                    <a:pt x="4" y="10"/>
                  </a:cubicBezTo>
                  <a:cubicBezTo>
                    <a:pt x="4" y="15"/>
                    <a:pt x="6" y="17"/>
                    <a:pt x="8" y="17"/>
                  </a:cubicBezTo>
                  <a:moveTo>
                    <a:pt x="8" y="0"/>
                  </a:moveTo>
                  <a:cubicBezTo>
                    <a:pt x="12" y="0"/>
                    <a:pt x="15" y="3"/>
                    <a:pt x="15" y="10"/>
                  </a:cubicBezTo>
                  <a:cubicBezTo>
                    <a:pt x="15" y="14"/>
                    <a:pt x="14" y="20"/>
                    <a:pt x="8" y="20"/>
                  </a:cubicBezTo>
                  <a:cubicBezTo>
                    <a:pt x="2" y="20"/>
                    <a:pt x="0" y="14"/>
                    <a:pt x="0" y="10"/>
                  </a:cubicBezTo>
                  <a:cubicBezTo>
                    <a:pt x="0" y="3"/>
                    <a:pt x="3" y="0"/>
                    <a:pt x="8" y="0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9" name="Freeform 708">
              <a:extLst>
                <a:ext uri="{FF2B5EF4-FFF2-40B4-BE49-F238E27FC236}">
                  <a16:creationId xmlns:a16="http://schemas.microsoft.com/office/drawing/2014/main" id="{26721223-7725-4FF3-B2EA-C260E8759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4138" y="2146300"/>
              <a:ext cx="17463" cy="39688"/>
            </a:xfrm>
            <a:custGeom>
              <a:avLst/>
              <a:gdLst/>
              <a:ahLst/>
              <a:cxnLst>
                <a:cxn ang="0">
                  <a:pos x="5" y="7"/>
                </a:cxn>
                <a:cxn ang="0">
                  <a:pos x="1" y="7"/>
                </a:cxn>
                <a:cxn ang="0">
                  <a:pos x="0" y="5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8" y="0"/>
                </a:cxn>
                <a:cxn ang="0">
                  <a:pos x="9" y="2"/>
                </a:cxn>
                <a:cxn ang="0">
                  <a:pos x="9" y="17"/>
                </a:cxn>
                <a:cxn ang="0">
                  <a:pos x="7" y="20"/>
                </a:cxn>
                <a:cxn ang="0">
                  <a:pos x="5" y="17"/>
                </a:cxn>
                <a:cxn ang="0">
                  <a:pos x="5" y="7"/>
                </a:cxn>
              </a:cxnLst>
              <a:rect l="0" t="0" r="r" b="b"/>
              <a:pathLst>
                <a:path w="9" h="20">
                  <a:moveTo>
                    <a:pt x="5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5"/>
                  </a:cubicBezTo>
                  <a:cubicBezTo>
                    <a:pt x="0" y="4"/>
                    <a:pt x="0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6" y="3"/>
                    <a:pt x="5" y="0"/>
                    <a:pt x="8" y="0"/>
                  </a:cubicBezTo>
                  <a:cubicBezTo>
                    <a:pt x="8" y="0"/>
                    <a:pt x="9" y="0"/>
                    <a:pt x="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9"/>
                    <a:pt x="9" y="20"/>
                    <a:pt x="7" y="20"/>
                  </a:cubicBezTo>
                  <a:cubicBezTo>
                    <a:pt x="5" y="20"/>
                    <a:pt x="5" y="19"/>
                    <a:pt x="5" y="17"/>
                  </a:cubicBezTo>
                  <a:cubicBezTo>
                    <a:pt x="5" y="7"/>
                    <a:pt x="5" y="7"/>
                    <a:pt x="5" y="7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0" name="Freeform 709">
              <a:extLst>
                <a:ext uri="{FF2B5EF4-FFF2-40B4-BE49-F238E27FC236}">
                  <a16:creationId xmlns:a16="http://schemas.microsoft.com/office/drawing/2014/main" id="{6B36FE1D-3400-457A-8C48-91D40392C3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7950" y="2146300"/>
              <a:ext cx="28575" cy="39688"/>
            </a:xfrm>
            <a:custGeom>
              <a:avLst/>
              <a:gdLst/>
              <a:ahLst/>
              <a:cxnLst>
                <a:cxn ang="0">
                  <a:pos x="7" y="17"/>
                </a:cxn>
                <a:cxn ang="0">
                  <a:pos x="10" y="10"/>
                </a:cxn>
                <a:cxn ang="0">
                  <a:pos x="7" y="3"/>
                </a:cxn>
                <a:cxn ang="0">
                  <a:pos x="4" y="10"/>
                </a:cxn>
                <a:cxn ang="0">
                  <a:pos x="7" y="17"/>
                </a:cxn>
                <a:cxn ang="0">
                  <a:pos x="7" y="0"/>
                </a:cxn>
                <a:cxn ang="0">
                  <a:pos x="14" y="10"/>
                </a:cxn>
                <a:cxn ang="0">
                  <a:pos x="7" y="20"/>
                </a:cxn>
                <a:cxn ang="0">
                  <a:pos x="0" y="10"/>
                </a:cxn>
                <a:cxn ang="0">
                  <a:pos x="7" y="0"/>
                </a:cxn>
              </a:cxnLst>
              <a:rect l="0" t="0" r="r" b="b"/>
              <a:pathLst>
                <a:path w="14" h="20">
                  <a:moveTo>
                    <a:pt x="7" y="17"/>
                  </a:moveTo>
                  <a:cubicBezTo>
                    <a:pt x="9" y="17"/>
                    <a:pt x="10" y="15"/>
                    <a:pt x="10" y="10"/>
                  </a:cubicBezTo>
                  <a:cubicBezTo>
                    <a:pt x="10" y="6"/>
                    <a:pt x="9" y="3"/>
                    <a:pt x="7" y="3"/>
                  </a:cubicBezTo>
                  <a:cubicBezTo>
                    <a:pt x="5" y="3"/>
                    <a:pt x="4" y="6"/>
                    <a:pt x="4" y="10"/>
                  </a:cubicBezTo>
                  <a:cubicBezTo>
                    <a:pt x="4" y="15"/>
                    <a:pt x="5" y="17"/>
                    <a:pt x="7" y="17"/>
                  </a:cubicBezTo>
                  <a:moveTo>
                    <a:pt x="7" y="0"/>
                  </a:moveTo>
                  <a:cubicBezTo>
                    <a:pt x="11" y="0"/>
                    <a:pt x="14" y="3"/>
                    <a:pt x="14" y="10"/>
                  </a:cubicBezTo>
                  <a:cubicBezTo>
                    <a:pt x="14" y="14"/>
                    <a:pt x="13" y="20"/>
                    <a:pt x="7" y="20"/>
                  </a:cubicBezTo>
                  <a:cubicBezTo>
                    <a:pt x="1" y="20"/>
                    <a:pt x="0" y="14"/>
                    <a:pt x="0" y="10"/>
                  </a:cubicBezTo>
                  <a:cubicBezTo>
                    <a:pt x="0" y="3"/>
                    <a:pt x="2" y="0"/>
                    <a:pt x="7" y="0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1" name="Freeform 710">
              <a:extLst>
                <a:ext uri="{FF2B5EF4-FFF2-40B4-BE49-F238E27FC236}">
                  <a16:creationId xmlns:a16="http://schemas.microsoft.com/office/drawing/2014/main" id="{0E116C8F-950E-455C-8029-A5BA23BDCD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1288" y="2146300"/>
              <a:ext cx="26988" cy="39688"/>
            </a:xfrm>
            <a:custGeom>
              <a:avLst/>
              <a:gdLst/>
              <a:ahLst/>
              <a:cxnLst>
                <a:cxn ang="0">
                  <a:pos x="7" y="17"/>
                </a:cxn>
                <a:cxn ang="0">
                  <a:pos x="10" y="10"/>
                </a:cxn>
                <a:cxn ang="0">
                  <a:pos x="7" y="3"/>
                </a:cxn>
                <a:cxn ang="0">
                  <a:pos x="4" y="10"/>
                </a:cxn>
                <a:cxn ang="0">
                  <a:pos x="7" y="17"/>
                </a:cxn>
                <a:cxn ang="0">
                  <a:pos x="7" y="0"/>
                </a:cxn>
                <a:cxn ang="0">
                  <a:pos x="14" y="10"/>
                </a:cxn>
                <a:cxn ang="0">
                  <a:pos x="7" y="20"/>
                </a:cxn>
                <a:cxn ang="0">
                  <a:pos x="0" y="10"/>
                </a:cxn>
                <a:cxn ang="0">
                  <a:pos x="7" y="0"/>
                </a:cxn>
              </a:cxnLst>
              <a:rect l="0" t="0" r="r" b="b"/>
              <a:pathLst>
                <a:path w="14" h="20">
                  <a:moveTo>
                    <a:pt x="7" y="17"/>
                  </a:moveTo>
                  <a:cubicBezTo>
                    <a:pt x="9" y="17"/>
                    <a:pt x="10" y="15"/>
                    <a:pt x="10" y="10"/>
                  </a:cubicBezTo>
                  <a:cubicBezTo>
                    <a:pt x="10" y="6"/>
                    <a:pt x="9" y="3"/>
                    <a:pt x="7" y="3"/>
                  </a:cubicBezTo>
                  <a:cubicBezTo>
                    <a:pt x="5" y="3"/>
                    <a:pt x="4" y="6"/>
                    <a:pt x="4" y="10"/>
                  </a:cubicBezTo>
                  <a:cubicBezTo>
                    <a:pt x="4" y="15"/>
                    <a:pt x="5" y="17"/>
                    <a:pt x="7" y="17"/>
                  </a:cubicBezTo>
                  <a:moveTo>
                    <a:pt x="7" y="0"/>
                  </a:moveTo>
                  <a:cubicBezTo>
                    <a:pt x="11" y="0"/>
                    <a:pt x="14" y="3"/>
                    <a:pt x="14" y="10"/>
                  </a:cubicBezTo>
                  <a:cubicBezTo>
                    <a:pt x="14" y="14"/>
                    <a:pt x="13" y="20"/>
                    <a:pt x="7" y="20"/>
                  </a:cubicBezTo>
                  <a:cubicBezTo>
                    <a:pt x="1" y="20"/>
                    <a:pt x="0" y="14"/>
                    <a:pt x="0" y="10"/>
                  </a:cubicBezTo>
                  <a:cubicBezTo>
                    <a:pt x="0" y="3"/>
                    <a:pt x="2" y="0"/>
                    <a:pt x="7" y="0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2" name="Freeform 711">
              <a:extLst>
                <a:ext uri="{FF2B5EF4-FFF2-40B4-BE49-F238E27FC236}">
                  <a16:creationId xmlns:a16="http://schemas.microsoft.com/office/drawing/2014/main" id="{E7731B47-28C8-41DA-9520-1646291BA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863" y="2146300"/>
              <a:ext cx="17463" cy="39688"/>
            </a:xfrm>
            <a:custGeom>
              <a:avLst/>
              <a:gdLst/>
              <a:ahLst/>
              <a:cxnLst>
                <a:cxn ang="0">
                  <a:pos x="5" y="7"/>
                </a:cxn>
                <a:cxn ang="0">
                  <a:pos x="2" y="7"/>
                </a:cxn>
                <a:cxn ang="0">
                  <a:pos x="0" y="5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8" y="0"/>
                </a:cxn>
                <a:cxn ang="0">
                  <a:pos x="9" y="2"/>
                </a:cxn>
                <a:cxn ang="0">
                  <a:pos x="9" y="17"/>
                </a:cxn>
                <a:cxn ang="0">
                  <a:pos x="7" y="20"/>
                </a:cxn>
                <a:cxn ang="0">
                  <a:pos x="5" y="17"/>
                </a:cxn>
                <a:cxn ang="0">
                  <a:pos x="5" y="7"/>
                </a:cxn>
              </a:cxnLst>
              <a:rect l="0" t="0" r="r" b="b"/>
              <a:pathLst>
                <a:path w="9" h="20">
                  <a:moveTo>
                    <a:pt x="5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0" y="7"/>
                    <a:pt x="0" y="5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6" y="3"/>
                    <a:pt x="5" y="0"/>
                    <a:pt x="8" y="0"/>
                  </a:cubicBezTo>
                  <a:cubicBezTo>
                    <a:pt x="9" y="0"/>
                    <a:pt x="9" y="0"/>
                    <a:pt x="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9"/>
                    <a:pt x="9" y="20"/>
                    <a:pt x="7" y="20"/>
                  </a:cubicBezTo>
                  <a:cubicBezTo>
                    <a:pt x="6" y="20"/>
                    <a:pt x="5" y="19"/>
                    <a:pt x="5" y="17"/>
                  </a:cubicBezTo>
                  <a:cubicBezTo>
                    <a:pt x="5" y="7"/>
                    <a:pt x="5" y="7"/>
                    <a:pt x="5" y="7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3" name="Freeform 712">
              <a:extLst>
                <a:ext uri="{FF2B5EF4-FFF2-40B4-BE49-F238E27FC236}">
                  <a16:creationId xmlns:a16="http://schemas.microsoft.com/office/drawing/2014/main" id="{D288E900-99D4-4AC0-993D-B750FFEDB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3675" y="2146300"/>
              <a:ext cx="17463" cy="39688"/>
            </a:xfrm>
            <a:custGeom>
              <a:avLst/>
              <a:gdLst/>
              <a:ahLst/>
              <a:cxnLst>
                <a:cxn ang="0">
                  <a:pos x="5" y="7"/>
                </a:cxn>
                <a:cxn ang="0">
                  <a:pos x="1" y="7"/>
                </a:cxn>
                <a:cxn ang="0">
                  <a:pos x="0" y="5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7" y="0"/>
                </a:cxn>
                <a:cxn ang="0">
                  <a:pos x="9" y="2"/>
                </a:cxn>
                <a:cxn ang="0">
                  <a:pos x="9" y="17"/>
                </a:cxn>
                <a:cxn ang="0">
                  <a:pos x="7" y="20"/>
                </a:cxn>
                <a:cxn ang="0">
                  <a:pos x="5" y="17"/>
                </a:cxn>
                <a:cxn ang="0">
                  <a:pos x="5" y="7"/>
                </a:cxn>
              </a:cxnLst>
              <a:rect l="0" t="0" r="r" b="b"/>
              <a:pathLst>
                <a:path w="9" h="20">
                  <a:moveTo>
                    <a:pt x="5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5"/>
                  </a:cubicBezTo>
                  <a:cubicBezTo>
                    <a:pt x="0" y="4"/>
                    <a:pt x="0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6" y="3"/>
                    <a:pt x="5" y="0"/>
                    <a:pt x="7" y="0"/>
                  </a:cubicBezTo>
                  <a:cubicBezTo>
                    <a:pt x="8" y="0"/>
                    <a:pt x="9" y="0"/>
                    <a:pt x="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9"/>
                    <a:pt x="8" y="20"/>
                    <a:pt x="7" y="20"/>
                  </a:cubicBezTo>
                  <a:cubicBezTo>
                    <a:pt x="5" y="20"/>
                    <a:pt x="5" y="19"/>
                    <a:pt x="5" y="17"/>
                  </a:cubicBezTo>
                  <a:cubicBezTo>
                    <a:pt x="5" y="7"/>
                    <a:pt x="5" y="7"/>
                    <a:pt x="5" y="7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4" name="Freeform 713">
              <a:extLst>
                <a:ext uri="{FF2B5EF4-FFF2-40B4-BE49-F238E27FC236}">
                  <a16:creationId xmlns:a16="http://schemas.microsoft.com/office/drawing/2014/main" id="{3E07EEA0-9B75-4C93-9A23-390EA9535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900" y="2146300"/>
              <a:ext cx="17463" cy="39688"/>
            </a:xfrm>
            <a:custGeom>
              <a:avLst/>
              <a:gdLst/>
              <a:ahLst/>
              <a:cxnLst>
                <a:cxn ang="0">
                  <a:pos x="5" y="7"/>
                </a:cxn>
                <a:cxn ang="0">
                  <a:pos x="1" y="7"/>
                </a:cxn>
                <a:cxn ang="0">
                  <a:pos x="0" y="5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7" y="0"/>
                </a:cxn>
                <a:cxn ang="0">
                  <a:pos x="9" y="2"/>
                </a:cxn>
                <a:cxn ang="0">
                  <a:pos x="9" y="17"/>
                </a:cxn>
                <a:cxn ang="0">
                  <a:pos x="7" y="20"/>
                </a:cxn>
                <a:cxn ang="0">
                  <a:pos x="5" y="17"/>
                </a:cxn>
                <a:cxn ang="0">
                  <a:pos x="5" y="7"/>
                </a:cxn>
              </a:cxnLst>
              <a:rect l="0" t="0" r="r" b="b"/>
              <a:pathLst>
                <a:path w="9" h="20">
                  <a:moveTo>
                    <a:pt x="5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5"/>
                  </a:cubicBezTo>
                  <a:cubicBezTo>
                    <a:pt x="0" y="4"/>
                    <a:pt x="0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6" y="3"/>
                    <a:pt x="5" y="0"/>
                    <a:pt x="7" y="0"/>
                  </a:cubicBezTo>
                  <a:cubicBezTo>
                    <a:pt x="8" y="0"/>
                    <a:pt x="9" y="0"/>
                    <a:pt x="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9"/>
                    <a:pt x="9" y="20"/>
                    <a:pt x="7" y="20"/>
                  </a:cubicBezTo>
                  <a:cubicBezTo>
                    <a:pt x="5" y="20"/>
                    <a:pt x="5" y="19"/>
                    <a:pt x="5" y="17"/>
                  </a:cubicBezTo>
                  <a:cubicBezTo>
                    <a:pt x="5" y="7"/>
                    <a:pt x="5" y="7"/>
                    <a:pt x="5" y="7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5" name="Freeform 714">
              <a:extLst>
                <a:ext uri="{FF2B5EF4-FFF2-40B4-BE49-F238E27FC236}">
                  <a16:creationId xmlns:a16="http://schemas.microsoft.com/office/drawing/2014/main" id="{E9F21487-5949-4DE5-8D4C-7BB31B639A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9713" y="2146300"/>
              <a:ext cx="28575" cy="39688"/>
            </a:xfrm>
            <a:custGeom>
              <a:avLst/>
              <a:gdLst/>
              <a:ahLst/>
              <a:cxnLst>
                <a:cxn ang="0">
                  <a:pos x="7" y="17"/>
                </a:cxn>
                <a:cxn ang="0">
                  <a:pos x="10" y="10"/>
                </a:cxn>
                <a:cxn ang="0">
                  <a:pos x="7" y="3"/>
                </a:cxn>
                <a:cxn ang="0">
                  <a:pos x="4" y="10"/>
                </a:cxn>
                <a:cxn ang="0">
                  <a:pos x="7" y="17"/>
                </a:cxn>
                <a:cxn ang="0">
                  <a:pos x="7" y="0"/>
                </a:cxn>
                <a:cxn ang="0">
                  <a:pos x="14" y="10"/>
                </a:cxn>
                <a:cxn ang="0">
                  <a:pos x="7" y="20"/>
                </a:cxn>
                <a:cxn ang="0">
                  <a:pos x="0" y="10"/>
                </a:cxn>
                <a:cxn ang="0">
                  <a:pos x="7" y="0"/>
                </a:cxn>
              </a:cxnLst>
              <a:rect l="0" t="0" r="r" b="b"/>
              <a:pathLst>
                <a:path w="14" h="20">
                  <a:moveTo>
                    <a:pt x="7" y="17"/>
                  </a:moveTo>
                  <a:cubicBezTo>
                    <a:pt x="9" y="17"/>
                    <a:pt x="10" y="15"/>
                    <a:pt x="10" y="10"/>
                  </a:cubicBezTo>
                  <a:cubicBezTo>
                    <a:pt x="10" y="6"/>
                    <a:pt x="9" y="3"/>
                    <a:pt x="7" y="3"/>
                  </a:cubicBezTo>
                  <a:cubicBezTo>
                    <a:pt x="4" y="3"/>
                    <a:pt x="4" y="6"/>
                    <a:pt x="4" y="10"/>
                  </a:cubicBezTo>
                  <a:cubicBezTo>
                    <a:pt x="4" y="15"/>
                    <a:pt x="5" y="17"/>
                    <a:pt x="7" y="17"/>
                  </a:cubicBezTo>
                  <a:moveTo>
                    <a:pt x="7" y="0"/>
                  </a:moveTo>
                  <a:cubicBezTo>
                    <a:pt x="11" y="0"/>
                    <a:pt x="14" y="3"/>
                    <a:pt x="14" y="10"/>
                  </a:cubicBezTo>
                  <a:cubicBezTo>
                    <a:pt x="14" y="14"/>
                    <a:pt x="13" y="20"/>
                    <a:pt x="7" y="20"/>
                  </a:cubicBezTo>
                  <a:cubicBezTo>
                    <a:pt x="1" y="20"/>
                    <a:pt x="0" y="14"/>
                    <a:pt x="0" y="10"/>
                  </a:cubicBezTo>
                  <a:cubicBezTo>
                    <a:pt x="0" y="3"/>
                    <a:pt x="2" y="0"/>
                    <a:pt x="7" y="0"/>
                  </a:cubicBezTo>
                </a:path>
              </a:pathLst>
            </a:custGeom>
            <a:solidFill>
              <a:srgbClr val="1A171B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50317" tIns="25158" rIns="50317" bIns="2515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</p:grpSp>
      <p:grpSp>
        <p:nvGrpSpPr>
          <p:cNvPr id="116" name="Groupe 373">
            <a:extLst>
              <a:ext uri="{FF2B5EF4-FFF2-40B4-BE49-F238E27FC236}">
                <a16:creationId xmlns:a16="http://schemas.microsoft.com/office/drawing/2014/main" id="{101C0F24-C815-4277-9795-41B97002CE87}"/>
              </a:ext>
            </a:extLst>
          </p:cNvPr>
          <p:cNvGrpSpPr/>
          <p:nvPr/>
        </p:nvGrpSpPr>
        <p:grpSpPr>
          <a:xfrm>
            <a:off x="2743636" y="3215193"/>
            <a:ext cx="313175" cy="292384"/>
            <a:chOff x="4511676" y="2714625"/>
            <a:chExt cx="382587" cy="357188"/>
          </a:xfrm>
          <a:solidFill>
            <a:srgbClr val="FFFFFF"/>
          </a:solidFill>
        </p:grpSpPr>
        <p:sp>
          <p:nvSpPr>
            <p:cNvPr id="117" name="Freeform 437">
              <a:extLst>
                <a:ext uri="{FF2B5EF4-FFF2-40B4-BE49-F238E27FC236}">
                  <a16:creationId xmlns:a16="http://schemas.microsoft.com/office/drawing/2014/main" id="{CDAED4ED-63A0-4C87-A4E9-976D507CFB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2001" y="2714625"/>
              <a:ext cx="228600" cy="131763"/>
            </a:xfrm>
            <a:custGeom>
              <a:avLst/>
              <a:gdLst/>
              <a:ahLst/>
              <a:cxnLst>
                <a:cxn ang="0">
                  <a:pos x="101" y="20"/>
                </a:cxn>
                <a:cxn ang="0">
                  <a:pos x="93" y="7"/>
                </a:cxn>
                <a:cxn ang="0">
                  <a:pos x="79" y="0"/>
                </a:cxn>
                <a:cxn ang="0">
                  <a:pos x="35" y="0"/>
                </a:cxn>
                <a:cxn ang="0">
                  <a:pos x="18" y="10"/>
                </a:cxn>
                <a:cxn ang="0">
                  <a:pos x="0" y="40"/>
                </a:cxn>
                <a:cxn ang="0">
                  <a:pos x="31" y="58"/>
                </a:cxn>
                <a:cxn ang="0">
                  <a:pos x="53" y="24"/>
                </a:cxn>
              </a:cxnLst>
              <a:rect l="0" t="0" r="r" b="b"/>
              <a:pathLst>
                <a:path w="101" h="58">
                  <a:moveTo>
                    <a:pt x="101" y="20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89" y="0"/>
                    <a:pt x="86" y="0"/>
                    <a:pt x="79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8" y="0"/>
                    <a:pt x="22" y="3"/>
                    <a:pt x="18" y="1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53" y="24"/>
                    <a:pt x="53" y="24"/>
                    <a:pt x="53" y="24"/>
                  </a:cubicBez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1913" tIns="30956" rIns="61913" bIns="30956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fr-FR" sz="1500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8" name="Freeform 438">
              <a:extLst>
                <a:ext uri="{FF2B5EF4-FFF2-40B4-BE49-F238E27FC236}">
                  <a16:creationId xmlns:a16="http://schemas.microsoft.com/office/drawing/2014/main" id="{7033FAE4-728C-49DB-8001-9E743BBF4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0901" y="2719388"/>
              <a:ext cx="163513" cy="104775"/>
            </a:xfrm>
            <a:custGeom>
              <a:avLst/>
              <a:gdLst/>
              <a:ahLst/>
              <a:cxnLst>
                <a:cxn ang="0">
                  <a:pos x="73" y="12"/>
                </a:cxn>
                <a:cxn ang="0">
                  <a:pos x="58" y="46"/>
                </a:cxn>
                <a:cxn ang="0">
                  <a:pos x="21" y="43"/>
                </a:cxn>
                <a:cxn ang="0">
                  <a:pos x="31" y="37"/>
                </a:cxn>
                <a:cxn ang="0">
                  <a:pos x="0" y="0"/>
                </a:cxn>
              </a:cxnLst>
              <a:rect l="0" t="0" r="r" b="b"/>
              <a:pathLst>
                <a:path w="73" h="46">
                  <a:moveTo>
                    <a:pt x="73" y="12"/>
                  </a:moveTo>
                  <a:cubicBezTo>
                    <a:pt x="58" y="46"/>
                    <a:pt x="58" y="46"/>
                    <a:pt x="58" y="46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20" y="19"/>
                    <a:pt x="11" y="2"/>
                    <a:pt x="0" y="0"/>
                  </a:cubicBez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1913" tIns="30956" rIns="61913" bIns="30956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fr-FR" sz="1500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9" name="Freeform 439">
              <a:extLst>
                <a:ext uri="{FF2B5EF4-FFF2-40B4-BE49-F238E27FC236}">
                  <a16:creationId xmlns:a16="http://schemas.microsoft.com/office/drawing/2014/main" id="{38C53026-4B31-4B0A-BA19-2BD8D18A8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3613" y="2819400"/>
              <a:ext cx="120650" cy="225425"/>
            </a:xfrm>
            <a:custGeom>
              <a:avLst/>
              <a:gdLst/>
              <a:ahLst/>
              <a:cxnLst>
                <a:cxn ang="0">
                  <a:pos x="2" y="100"/>
                </a:cxn>
                <a:cxn ang="0">
                  <a:pos x="18" y="99"/>
                </a:cxn>
                <a:cxn ang="0">
                  <a:pos x="31" y="90"/>
                </a:cxn>
                <a:cxn ang="0">
                  <a:pos x="50" y="50"/>
                </a:cxn>
                <a:cxn ang="0">
                  <a:pos x="49" y="30"/>
                </a:cxn>
                <a:cxn ang="0">
                  <a:pos x="30" y="0"/>
                </a:cxn>
                <a:cxn ang="0">
                  <a:pos x="0" y="20"/>
                </a:cxn>
                <a:cxn ang="0">
                  <a:pos x="20" y="55"/>
                </a:cxn>
              </a:cxnLst>
              <a:rect l="0" t="0" r="r" b="b"/>
              <a:pathLst>
                <a:path w="54" h="100">
                  <a:moveTo>
                    <a:pt x="2" y="100"/>
                  </a:moveTo>
                  <a:cubicBezTo>
                    <a:pt x="18" y="99"/>
                    <a:pt x="18" y="99"/>
                    <a:pt x="18" y="99"/>
                  </a:cubicBezTo>
                  <a:cubicBezTo>
                    <a:pt x="26" y="99"/>
                    <a:pt x="28" y="96"/>
                    <a:pt x="31" y="90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4" y="43"/>
                    <a:pt x="53" y="37"/>
                    <a:pt x="49" y="3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20" y="55"/>
                    <a:pt x="20" y="55"/>
                    <a:pt x="20" y="55"/>
                  </a:cubicBez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1913" tIns="30956" rIns="61913" bIns="30956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fr-FR" sz="1500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20" name="Freeform 440">
              <a:extLst>
                <a:ext uri="{FF2B5EF4-FFF2-40B4-BE49-F238E27FC236}">
                  <a16:creationId xmlns:a16="http://schemas.microsoft.com/office/drawing/2014/main" id="{304529A6-5D39-4075-AB4A-60DEEE637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5988" y="2936875"/>
              <a:ext cx="150813" cy="134938"/>
            </a:xfrm>
            <a:custGeom>
              <a:avLst/>
              <a:gdLst/>
              <a:ahLst/>
              <a:cxnLst>
                <a:cxn ang="0">
                  <a:pos x="23" y="60"/>
                </a:cxn>
                <a:cxn ang="0">
                  <a:pos x="0" y="33"/>
                </a:cxn>
                <a:cxn ang="0">
                  <a:pos x="19" y="0"/>
                </a:cxn>
                <a:cxn ang="0">
                  <a:pos x="20" y="12"/>
                </a:cxn>
                <a:cxn ang="0">
                  <a:pos x="67" y="1"/>
                </a:cxn>
              </a:cxnLst>
              <a:rect l="0" t="0" r="r" b="b"/>
              <a:pathLst>
                <a:path w="67" h="60">
                  <a:moveTo>
                    <a:pt x="23" y="6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41" y="11"/>
                    <a:pt x="60" y="9"/>
                    <a:pt x="67" y="1"/>
                  </a:cubicBez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1913" tIns="30956" rIns="61913" bIns="30956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fr-FR" sz="1500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21" name="Freeform 441">
              <a:extLst>
                <a:ext uri="{FF2B5EF4-FFF2-40B4-BE49-F238E27FC236}">
                  <a16:creationId xmlns:a16="http://schemas.microsoft.com/office/drawing/2014/main" id="{8FE176A7-D315-407A-9765-B2E348992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676" y="2878138"/>
              <a:ext cx="182563" cy="173038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3" y="14"/>
                </a:cxn>
                <a:cxn ang="0">
                  <a:pos x="5" y="30"/>
                </a:cxn>
                <a:cxn ang="0">
                  <a:pos x="28" y="68"/>
                </a:cxn>
                <a:cxn ang="0">
                  <a:pos x="46" y="77"/>
                </a:cxn>
                <a:cxn ang="0">
                  <a:pos x="81" y="77"/>
                </a:cxn>
                <a:cxn ang="0">
                  <a:pos x="80" y="41"/>
                </a:cxn>
                <a:cxn ang="0">
                  <a:pos x="40" y="39"/>
                </a:cxn>
              </a:cxnLst>
              <a:rect l="0" t="0" r="r" b="b"/>
              <a:pathLst>
                <a:path w="81" h="77">
                  <a:moveTo>
                    <a:pt x="11" y="0"/>
                  </a:moveTo>
                  <a:cubicBezTo>
                    <a:pt x="3" y="14"/>
                    <a:pt x="3" y="14"/>
                    <a:pt x="3" y="14"/>
                  </a:cubicBezTo>
                  <a:cubicBezTo>
                    <a:pt x="0" y="21"/>
                    <a:pt x="1" y="24"/>
                    <a:pt x="5" y="30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2" y="74"/>
                    <a:pt x="38" y="77"/>
                    <a:pt x="46" y="77"/>
                  </a:cubicBezTo>
                  <a:cubicBezTo>
                    <a:pt x="81" y="77"/>
                    <a:pt x="81" y="77"/>
                    <a:pt x="81" y="77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40" y="39"/>
                    <a:pt x="40" y="39"/>
                    <a:pt x="40" y="39"/>
                  </a:cubicBez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1913" tIns="30956" rIns="61913" bIns="30956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fr-FR" sz="1500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22" name="Freeform 442">
              <a:extLst>
                <a:ext uri="{FF2B5EF4-FFF2-40B4-BE49-F238E27FC236}">
                  <a16:creationId xmlns:a16="http://schemas.microsoft.com/office/drawing/2014/main" id="{424DE6AE-4BFA-45C2-A249-A2FDCD3BFF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676" y="2852738"/>
              <a:ext cx="122238" cy="166688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36" y="0"/>
                </a:cxn>
                <a:cxn ang="0">
                  <a:pos x="54" y="33"/>
                </a:cxn>
                <a:cxn ang="0">
                  <a:pos x="43" y="28"/>
                </a:cxn>
                <a:cxn ang="0">
                  <a:pos x="28" y="74"/>
                </a:cxn>
              </a:cxnLst>
              <a:rect l="0" t="0" r="r" b="b"/>
              <a:pathLst>
                <a:path w="54" h="74">
                  <a:moveTo>
                    <a:pt x="0" y="5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33" y="46"/>
                    <a:pt x="24" y="63"/>
                    <a:pt x="28" y="74"/>
                  </a:cubicBez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1913" tIns="30956" rIns="61913" bIns="30956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fr-FR" sz="1500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</p:grpSp>
      <p:sp>
        <p:nvSpPr>
          <p:cNvPr id="123" name="Freeform 480">
            <a:extLst>
              <a:ext uri="{FF2B5EF4-FFF2-40B4-BE49-F238E27FC236}">
                <a16:creationId xmlns:a16="http://schemas.microsoft.com/office/drawing/2014/main" id="{324F08CF-F275-4DEA-8255-373F3D2401DB}"/>
              </a:ext>
            </a:extLst>
          </p:cNvPr>
          <p:cNvSpPr>
            <a:spLocks noEditPoints="1"/>
          </p:cNvSpPr>
          <p:nvPr/>
        </p:nvSpPr>
        <p:spPr bwMode="auto">
          <a:xfrm>
            <a:off x="7841003" y="3212701"/>
            <a:ext cx="345428" cy="292712"/>
          </a:xfrm>
          <a:custGeom>
            <a:avLst/>
            <a:gdLst/>
            <a:ahLst/>
            <a:cxnLst>
              <a:cxn ang="0">
                <a:pos x="140" y="144"/>
              </a:cxn>
              <a:cxn ang="0">
                <a:pos x="174" y="178"/>
              </a:cxn>
              <a:cxn ang="0">
                <a:pos x="140" y="211"/>
              </a:cxn>
              <a:cxn ang="0">
                <a:pos x="67" y="178"/>
              </a:cxn>
              <a:cxn ang="0">
                <a:pos x="134" y="178"/>
              </a:cxn>
              <a:cxn ang="0">
                <a:pos x="215" y="71"/>
              </a:cxn>
              <a:cxn ang="0">
                <a:pos x="249" y="104"/>
              </a:cxn>
              <a:cxn ang="0">
                <a:pos x="215" y="140"/>
              </a:cxn>
              <a:cxn ang="0">
                <a:pos x="141" y="104"/>
              </a:cxn>
              <a:cxn ang="0">
                <a:pos x="209" y="104"/>
              </a:cxn>
              <a:cxn ang="0">
                <a:pos x="74" y="71"/>
              </a:cxn>
              <a:cxn ang="0">
                <a:pos x="108" y="104"/>
              </a:cxn>
              <a:cxn ang="0">
                <a:pos x="74" y="140"/>
              </a:cxn>
              <a:cxn ang="0">
                <a:pos x="0" y="104"/>
              </a:cxn>
              <a:cxn ang="0">
                <a:pos x="69" y="104"/>
              </a:cxn>
              <a:cxn ang="0">
                <a:pos x="140" y="0"/>
              </a:cxn>
              <a:cxn ang="0">
                <a:pos x="174" y="33"/>
              </a:cxn>
              <a:cxn ang="0">
                <a:pos x="140" y="67"/>
              </a:cxn>
              <a:cxn ang="0">
                <a:pos x="67" y="33"/>
              </a:cxn>
              <a:cxn ang="0">
                <a:pos x="134" y="33"/>
              </a:cxn>
            </a:cxnLst>
            <a:rect l="0" t="0" r="r" b="b"/>
            <a:pathLst>
              <a:path w="249" h="211">
                <a:moveTo>
                  <a:pt x="140" y="144"/>
                </a:moveTo>
                <a:lnTo>
                  <a:pt x="174" y="178"/>
                </a:lnTo>
                <a:lnTo>
                  <a:pt x="140" y="211"/>
                </a:lnTo>
                <a:moveTo>
                  <a:pt x="67" y="178"/>
                </a:moveTo>
                <a:lnTo>
                  <a:pt x="134" y="178"/>
                </a:lnTo>
                <a:moveTo>
                  <a:pt x="215" y="71"/>
                </a:moveTo>
                <a:lnTo>
                  <a:pt x="249" y="104"/>
                </a:lnTo>
                <a:lnTo>
                  <a:pt x="215" y="140"/>
                </a:lnTo>
                <a:moveTo>
                  <a:pt x="141" y="104"/>
                </a:moveTo>
                <a:lnTo>
                  <a:pt x="209" y="104"/>
                </a:lnTo>
                <a:moveTo>
                  <a:pt x="74" y="71"/>
                </a:moveTo>
                <a:lnTo>
                  <a:pt x="108" y="104"/>
                </a:lnTo>
                <a:lnTo>
                  <a:pt x="74" y="140"/>
                </a:lnTo>
                <a:moveTo>
                  <a:pt x="0" y="104"/>
                </a:moveTo>
                <a:lnTo>
                  <a:pt x="69" y="104"/>
                </a:lnTo>
                <a:moveTo>
                  <a:pt x="140" y="0"/>
                </a:moveTo>
                <a:lnTo>
                  <a:pt x="174" y="33"/>
                </a:lnTo>
                <a:lnTo>
                  <a:pt x="140" y="67"/>
                </a:lnTo>
                <a:moveTo>
                  <a:pt x="67" y="33"/>
                </a:moveTo>
                <a:lnTo>
                  <a:pt x="134" y="33"/>
                </a:lnTo>
              </a:path>
            </a:pathLst>
          </a:custGeom>
          <a:noFill/>
          <a:ln w="19050" cap="sq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1913" tIns="30956" rIns="61913" bIns="3095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fr-FR" sz="1500" kern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grpSp>
        <p:nvGrpSpPr>
          <p:cNvPr id="124" name="Groupe 364">
            <a:extLst>
              <a:ext uri="{FF2B5EF4-FFF2-40B4-BE49-F238E27FC236}">
                <a16:creationId xmlns:a16="http://schemas.microsoft.com/office/drawing/2014/main" id="{F2417FCC-AB9F-4B05-AA23-19B79B47FD3B}"/>
              </a:ext>
            </a:extLst>
          </p:cNvPr>
          <p:cNvGrpSpPr/>
          <p:nvPr/>
        </p:nvGrpSpPr>
        <p:grpSpPr>
          <a:xfrm>
            <a:off x="6182226" y="3166456"/>
            <a:ext cx="225394" cy="354620"/>
            <a:chOff x="2097088" y="1989138"/>
            <a:chExt cx="238125" cy="374650"/>
          </a:xfrm>
          <a:solidFill>
            <a:srgbClr val="FFFFFF"/>
          </a:solidFill>
        </p:grpSpPr>
        <p:sp>
          <p:nvSpPr>
            <p:cNvPr id="125" name="Freeform 356">
              <a:extLst>
                <a:ext uri="{FF2B5EF4-FFF2-40B4-BE49-F238E27FC236}">
                  <a16:creationId xmlns:a16="http://schemas.microsoft.com/office/drawing/2014/main" id="{112A6241-BA78-4253-8164-D3992B376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7088" y="1989138"/>
              <a:ext cx="238125" cy="200025"/>
            </a:xfrm>
            <a:custGeom>
              <a:avLst/>
              <a:gdLst/>
              <a:ahLst/>
              <a:cxnLst>
                <a:cxn ang="0">
                  <a:pos x="50" y="71"/>
                </a:cxn>
                <a:cxn ang="0">
                  <a:pos x="0" y="36"/>
                </a:cxn>
                <a:cxn ang="0">
                  <a:pos x="50" y="0"/>
                </a:cxn>
                <a:cxn ang="0">
                  <a:pos x="50" y="20"/>
                </a:cxn>
                <a:cxn ang="0">
                  <a:pos x="70" y="20"/>
                </a:cxn>
                <a:cxn ang="0">
                  <a:pos x="106" y="53"/>
                </a:cxn>
                <a:cxn ang="0">
                  <a:pos x="85" y="89"/>
                </a:cxn>
                <a:cxn ang="0">
                  <a:pos x="85" y="65"/>
                </a:cxn>
                <a:cxn ang="0">
                  <a:pos x="67" y="51"/>
                </a:cxn>
                <a:cxn ang="0">
                  <a:pos x="50" y="51"/>
                </a:cxn>
              </a:cxnLst>
              <a:rect l="0" t="0" r="r" b="b"/>
              <a:pathLst>
                <a:path w="106" h="89">
                  <a:moveTo>
                    <a:pt x="50" y="71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9" y="20"/>
                    <a:pt x="70" y="20"/>
                  </a:cubicBezTo>
                  <a:cubicBezTo>
                    <a:pt x="83" y="20"/>
                    <a:pt x="106" y="31"/>
                    <a:pt x="106" y="53"/>
                  </a:cubicBezTo>
                  <a:cubicBezTo>
                    <a:pt x="106" y="70"/>
                    <a:pt x="92" y="87"/>
                    <a:pt x="85" y="89"/>
                  </a:cubicBezTo>
                  <a:cubicBezTo>
                    <a:pt x="85" y="89"/>
                    <a:pt x="86" y="68"/>
                    <a:pt x="85" y="65"/>
                  </a:cubicBezTo>
                  <a:cubicBezTo>
                    <a:pt x="85" y="62"/>
                    <a:pt x="84" y="51"/>
                    <a:pt x="67" y="51"/>
                  </a:cubicBezTo>
                  <a:cubicBezTo>
                    <a:pt x="50" y="51"/>
                    <a:pt x="50" y="51"/>
                    <a:pt x="50" y="51"/>
                  </a:cubicBezTo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61913" tIns="30956" rIns="61913" bIns="3095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500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26" name="Freeform 357">
              <a:extLst>
                <a:ext uri="{FF2B5EF4-FFF2-40B4-BE49-F238E27FC236}">
                  <a16:creationId xmlns:a16="http://schemas.microsoft.com/office/drawing/2014/main" id="{D35CEABF-5D0F-4E5E-BEE6-239BE931E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7088" y="2160588"/>
              <a:ext cx="238125" cy="203200"/>
            </a:xfrm>
            <a:custGeom>
              <a:avLst/>
              <a:gdLst/>
              <a:ahLst/>
              <a:cxnLst>
                <a:cxn ang="0">
                  <a:pos x="55" y="19"/>
                </a:cxn>
                <a:cxn ang="0">
                  <a:pos x="106" y="54"/>
                </a:cxn>
                <a:cxn ang="0">
                  <a:pos x="56" y="90"/>
                </a:cxn>
                <a:cxn ang="0">
                  <a:pos x="55" y="70"/>
                </a:cxn>
                <a:cxn ang="0">
                  <a:pos x="36" y="70"/>
                </a:cxn>
                <a:cxn ang="0">
                  <a:pos x="0" y="36"/>
                </a:cxn>
                <a:cxn ang="0">
                  <a:pos x="21" y="0"/>
                </a:cxn>
                <a:cxn ang="0">
                  <a:pos x="20" y="25"/>
                </a:cxn>
                <a:cxn ang="0">
                  <a:pos x="39" y="39"/>
                </a:cxn>
                <a:cxn ang="0">
                  <a:pos x="55" y="39"/>
                </a:cxn>
              </a:cxnLst>
              <a:rect l="0" t="0" r="r" b="b"/>
              <a:pathLst>
                <a:path w="106" h="90">
                  <a:moveTo>
                    <a:pt x="55" y="19"/>
                  </a:moveTo>
                  <a:cubicBezTo>
                    <a:pt x="106" y="54"/>
                    <a:pt x="106" y="54"/>
                    <a:pt x="106" y="54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46" y="70"/>
                    <a:pt x="36" y="70"/>
                  </a:cubicBezTo>
                  <a:cubicBezTo>
                    <a:pt x="23" y="69"/>
                    <a:pt x="0" y="59"/>
                    <a:pt x="0" y="36"/>
                  </a:cubicBezTo>
                  <a:cubicBezTo>
                    <a:pt x="0" y="19"/>
                    <a:pt x="14" y="2"/>
                    <a:pt x="21" y="0"/>
                  </a:cubicBezTo>
                  <a:cubicBezTo>
                    <a:pt x="21" y="0"/>
                    <a:pt x="19" y="21"/>
                    <a:pt x="20" y="25"/>
                  </a:cubicBezTo>
                  <a:cubicBezTo>
                    <a:pt x="21" y="27"/>
                    <a:pt x="22" y="38"/>
                    <a:pt x="39" y="39"/>
                  </a:cubicBezTo>
                  <a:cubicBezTo>
                    <a:pt x="55" y="39"/>
                    <a:pt x="55" y="39"/>
                    <a:pt x="55" y="39"/>
                  </a:cubicBezTo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61913" tIns="30956" rIns="61913" bIns="3095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500" kern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</p:grpSp>
      <p:sp>
        <p:nvSpPr>
          <p:cNvPr id="127" name="Freeform 31">
            <a:extLst>
              <a:ext uri="{FF2B5EF4-FFF2-40B4-BE49-F238E27FC236}">
                <a16:creationId xmlns:a16="http://schemas.microsoft.com/office/drawing/2014/main" id="{F8C19336-05F7-4BD9-B0DA-7AA9E6BFAA76}"/>
              </a:ext>
            </a:extLst>
          </p:cNvPr>
          <p:cNvSpPr>
            <a:spLocks noEditPoints="1"/>
          </p:cNvSpPr>
          <p:nvPr/>
        </p:nvSpPr>
        <p:spPr bwMode="auto">
          <a:xfrm>
            <a:off x="1011230" y="3231398"/>
            <a:ext cx="357542" cy="235281"/>
          </a:xfrm>
          <a:custGeom>
            <a:avLst/>
            <a:gdLst>
              <a:gd name="T0" fmla="*/ 2147483647 w 772"/>
              <a:gd name="T1" fmla="*/ 0 h 507"/>
              <a:gd name="T2" fmla="*/ 2147483647 w 772"/>
              <a:gd name="T3" fmla="*/ 2147483647 h 507"/>
              <a:gd name="T4" fmla="*/ 2147483647 w 772"/>
              <a:gd name="T5" fmla="*/ 2147483647 h 507"/>
              <a:gd name="T6" fmla="*/ 2147483647 w 772"/>
              <a:gd name="T7" fmla="*/ 2147483647 h 507"/>
              <a:gd name="T8" fmla="*/ 2147483647 w 772"/>
              <a:gd name="T9" fmla="*/ 2147483647 h 507"/>
              <a:gd name="T10" fmla="*/ 2147483647 w 772"/>
              <a:gd name="T11" fmla="*/ 2147483647 h 507"/>
              <a:gd name="T12" fmla="*/ 2147483647 w 772"/>
              <a:gd name="T13" fmla="*/ 2147483647 h 507"/>
              <a:gd name="T14" fmla="*/ 2147483647 w 772"/>
              <a:gd name="T15" fmla="*/ 2147483647 h 507"/>
              <a:gd name="T16" fmla="*/ 2147483647 w 772"/>
              <a:gd name="T17" fmla="*/ 2147483647 h 507"/>
              <a:gd name="T18" fmla="*/ 2147483647 w 772"/>
              <a:gd name="T19" fmla="*/ 2147483647 h 507"/>
              <a:gd name="T20" fmla="*/ 2147483647 w 772"/>
              <a:gd name="T21" fmla="*/ 2147483647 h 507"/>
              <a:gd name="T22" fmla="*/ 2147483647 w 772"/>
              <a:gd name="T23" fmla="*/ 2147483647 h 507"/>
              <a:gd name="T24" fmla="*/ 2147483647 w 772"/>
              <a:gd name="T25" fmla="*/ 2147483647 h 507"/>
              <a:gd name="T26" fmla="*/ 2147483647 w 772"/>
              <a:gd name="T27" fmla="*/ 2147483647 h 507"/>
              <a:gd name="T28" fmla="*/ 2147483647 w 772"/>
              <a:gd name="T29" fmla="*/ 2147483647 h 507"/>
              <a:gd name="T30" fmla="*/ 2147483647 w 772"/>
              <a:gd name="T31" fmla="*/ 2147483647 h 507"/>
              <a:gd name="T32" fmla="*/ 2147483647 w 772"/>
              <a:gd name="T33" fmla="*/ 2147483647 h 507"/>
              <a:gd name="T34" fmla="*/ 2147483647 w 772"/>
              <a:gd name="T35" fmla="*/ 2147483647 h 507"/>
              <a:gd name="T36" fmla="*/ 2147483647 w 772"/>
              <a:gd name="T37" fmla="*/ 2147483647 h 507"/>
              <a:gd name="T38" fmla="*/ 2147483647 w 772"/>
              <a:gd name="T39" fmla="*/ 2147483647 h 507"/>
              <a:gd name="T40" fmla="*/ 2147483647 w 772"/>
              <a:gd name="T41" fmla="*/ 2147483647 h 507"/>
              <a:gd name="T42" fmla="*/ 2147483647 w 772"/>
              <a:gd name="T43" fmla="*/ 2147483647 h 507"/>
              <a:gd name="T44" fmla="*/ 2147483647 w 772"/>
              <a:gd name="T45" fmla="*/ 2147483647 h 507"/>
              <a:gd name="T46" fmla="*/ 2147483647 w 772"/>
              <a:gd name="T47" fmla="*/ 2147483647 h 507"/>
              <a:gd name="T48" fmla="*/ 2147483647 w 772"/>
              <a:gd name="T49" fmla="*/ 2147483647 h 507"/>
              <a:gd name="T50" fmla="*/ 2147483647 w 772"/>
              <a:gd name="T51" fmla="*/ 2147483647 h 507"/>
              <a:gd name="T52" fmla="*/ 2147483647 w 772"/>
              <a:gd name="T53" fmla="*/ 2147483647 h 507"/>
              <a:gd name="T54" fmla="*/ 2147483647 w 772"/>
              <a:gd name="T55" fmla="*/ 2147483647 h 507"/>
              <a:gd name="T56" fmla="*/ 2147483647 w 772"/>
              <a:gd name="T57" fmla="*/ 2147483647 h 507"/>
              <a:gd name="T58" fmla="*/ 2147483647 w 772"/>
              <a:gd name="T59" fmla="*/ 2147483647 h 507"/>
              <a:gd name="T60" fmla="*/ 2147483647 w 772"/>
              <a:gd name="T61" fmla="*/ 2147483647 h 507"/>
              <a:gd name="T62" fmla="*/ 2147483647 w 772"/>
              <a:gd name="T63" fmla="*/ 2147483647 h 507"/>
              <a:gd name="T64" fmla="*/ 2147483647 w 772"/>
              <a:gd name="T65" fmla="*/ 2147483647 h 507"/>
              <a:gd name="T66" fmla="*/ 2147483647 w 772"/>
              <a:gd name="T67" fmla="*/ 2147483647 h 507"/>
              <a:gd name="T68" fmla="*/ 2147483647 w 772"/>
              <a:gd name="T69" fmla="*/ 2147483647 h 507"/>
              <a:gd name="T70" fmla="*/ 2147483647 w 772"/>
              <a:gd name="T71" fmla="*/ 2147483647 h 507"/>
              <a:gd name="T72" fmla="*/ 2147483647 w 772"/>
              <a:gd name="T73" fmla="*/ 2147483647 h 507"/>
              <a:gd name="T74" fmla="*/ 2147483647 w 772"/>
              <a:gd name="T75" fmla="*/ 2147483647 h 507"/>
              <a:gd name="T76" fmla="*/ 2147483647 w 772"/>
              <a:gd name="T77" fmla="*/ 2147483647 h 507"/>
              <a:gd name="T78" fmla="*/ 2147483647 w 772"/>
              <a:gd name="T79" fmla="*/ 2147483647 h 507"/>
              <a:gd name="T80" fmla="*/ 2147483647 w 772"/>
              <a:gd name="T81" fmla="*/ 2147483647 h 507"/>
              <a:gd name="T82" fmla="*/ 2147483647 w 772"/>
              <a:gd name="T83" fmla="*/ 2147483647 h 507"/>
              <a:gd name="T84" fmla="*/ 2147483647 w 772"/>
              <a:gd name="T85" fmla="*/ 2147483647 h 507"/>
              <a:gd name="T86" fmla="*/ 2147483647 w 772"/>
              <a:gd name="T87" fmla="*/ 2147483647 h 507"/>
              <a:gd name="T88" fmla="*/ 2147483647 w 772"/>
              <a:gd name="T89" fmla="*/ 2147483647 h 507"/>
              <a:gd name="T90" fmla="*/ 2147483647 w 772"/>
              <a:gd name="T91" fmla="*/ 2147483647 h 507"/>
              <a:gd name="T92" fmla="*/ 2147483647 w 772"/>
              <a:gd name="T93" fmla="*/ 2147483647 h 507"/>
              <a:gd name="T94" fmla="*/ 2147483647 w 772"/>
              <a:gd name="T95" fmla="*/ 2147483647 h 507"/>
              <a:gd name="T96" fmla="*/ 2147483647 w 772"/>
              <a:gd name="T97" fmla="*/ 2147483647 h 507"/>
              <a:gd name="T98" fmla="*/ 2147483647 w 772"/>
              <a:gd name="T99" fmla="*/ 2147483647 h 507"/>
              <a:gd name="T100" fmla="*/ 2147483647 w 772"/>
              <a:gd name="T101" fmla="*/ 2147483647 h 507"/>
              <a:gd name="T102" fmla="*/ 2147483647 w 772"/>
              <a:gd name="T103" fmla="*/ 2147483647 h 507"/>
              <a:gd name="T104" fmla="*/ 2147483647 w 772"/>
              <a:gd name="T105" fmla="*/ 2147483647 h 507"/>
              <a:gd name="T106" fmla="*/ 2147483647 w 772"/>
              <a:gd name="T107" fmla="*/ 2147483647 h 507"/>
              <a:gd name="T108" fmla="*/ 2147483647 w 772"/>
              <a:gd name="T109" fmla="*/ 2147483647 h 507"/>
              <a:gd name="T110" fmla="*/ 2147483647 w 772"/>
              <a:gd name="T111" fmla="*/ 2147483647 h 507"/>
              <a:gd name="T112" fmla="*/ 2147483647 w 772"/>
              <a:gd name="T113" fmla="*/ 2147483647 h 507"/>
              <a:gd name="T114" fmla="*/ 2147483647 w 772"/>
              <a:gd name="T115" fmla="*/ 2147483647 h 507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72" h="507">
                <a:moveTo>
                  <a:pt x="181" y="196"/>
                </a:moveTo>
                <a:cubicBezTo>
                  <a:pt x="235" y="196"/>
                  <a:pt x="279" y="152"/>
                  <a:pt x="279" y="98"/>
                </a:cubicBezTo>
                <a:cubicBezTo>
                  <a:pt x="279" y="44"/>
                  <a:pt x="235" y="0"/>
                  <a:pt x="181" y="0"/>
                </a:cubicBezTo>
                <a:cubicBezTo>
                  <a:pt x="127" y="0"/>
                  <a:pt x="84" y="44"/>
                  <a:pt x="84" y="98"/>
                </a:cubicBezTo>
                <a:cubicBezTo>
                  <a:pt x="84" y="152"/>
                  <a:pt x="127" y="196"/>
                  <a:pt x="181" y="196"/>
                </a:cubicBezTo>
                <a:close/>
                <a:moveTo>
                  <a:pt x="275" y="387"/>
                </a:moveTo>
                <a:cubicBezTo>
                  <a:pt x="295" y="388"/>
                  <a:pt x="295" y="388"/>
                  <a:pt x="295" y="388"/>
                </a:cubicBezTo>
                <a:cubicBezTo>
                  <a:pt x="303" y="389"/>
                  <a:pt x="303" y="389"/>
                  <a:pt x="303" y="389"/>
                </a:cubicBezTo>
                <a:cubicBezTo>
                  <a:pt x="310" y="390"/>
                  <a:pt x="310" y="390"/>
                  <a:pt x="310" y="390"/>
                </a:cubicBezTo>
                <a:cubicBezTo>
                  <a:pt x="388" y="397"/>
                  <a:pt x="388" y="397"/>
                  <a:pt x="388" y="397"/>
                </a:cubicBezTo>
                <a:cubicBezTo>
                  <a:pt x="388" y="397"/>
                  <a:pt x="388" y="397"/>
                  <a:pt x="388" y="397"/>
                </a:cubicBezTo>
                <a:cubicBezTo>
                  <a:pt x="389" y="393"/>
                  <a:pt x="389" y="390"/>
                  <a:pt x="389" y="387"/>
                </a:cubicBezTo>
                <a:cubicBezTo>
                  <a:pt x="389" y="385"/>
                  <a:pt x="389" y="384"/>
                  <a:pt x="388" y="382"/>
                </a:cubicBezTo>
                <a:cubicBezTo>
                  <a:pt x="387" y="375"/>
                  <a:pt x="383" y="369"/>
                  <a:pt x="379" y="364"/>
                </a:cubicBezTo>
                <a:cubicBezTo>
                  <a:pt x="379" y="364"/>
                  <a:pt x="379" y="364"/>
                  <a:pt x="379" y="364"/>
                </a:cubicBezTo>
                <a:cubicBezTo>
                  <a:pt x="374" y="359"/>
                  <a:pt x="368" y="355"/>
                  <a:pt x="361" y="353"/>
                </a:cubicBezTo>
                <a:cubicBezTo>
                  <a:pt x="358" y="352"/>
                  <a:pt x="354" y="351"/>
                  <a:pt x="350" y="351"/>
                </a:cubicBezTo>
                <a:cubicBezTo>
                  <a:pt x="350" y="351"/>
                  <a:pt x="350" y="351"/>
                  <a:pt x="350" y="351"/>
                </a:cubicBezTo>
                <a:cubicBezTo>
                  <a:pt x="303" y="351"/>
                  <a:pt x="303" y="351"/>
                  <a:pt x="303" y="351"/>
                </a:cubicBezTo>
                <a:cubicBezTo>
                  <a:pt x="295" y="351"/>
                  <a:pt x="295" y="351"/>
                  <a:pt x="295" y="351"/>
                </a:cubicBezTo>
                <a:cubicBezTo>
                  <a:pt x="256" y="351"/>
                  <a:pt x="256" y="351"/>
                  <a:pt x="256" y="351"/>
                </a:cubicBezTo>
                <a:lnTo>
                  <a:pt x="275" y="387"/>
                </a:lnTo>
                <a:close/>
                <a:moveTo>
                  <a:pt x="421" y="419"/>
                </a:moveTo>
                <a:cubicBezTo>
                  <a:pt x="418" y="419"/>
                  <a:pt x="416" y="418"/>
                  <a:pt x="413" y="418"/>
                </a:cubicBezTo>
                <a:cubicBezTo>
                  <a:pt x="403" y="417"/>
                  <a:pt x="403" y="417"/>
                  <a:pt x="403" y="417"/>
                </a:cubicBezTo>
                <a:cubicBezTo>
                  <a:pt x="400" y="417"/>
                  <a:pt x="400" y="417"/>
                  <a:pt x="400" y="417"/>
                </a:cubicBezTo>
                <a:cubicBezTo>
                  <a:pt x="389" y="416"/>
                  <a:pt x="389" y="416"/>
                  <a:pt x="389" y="416"/>
                </a:cubicBezTo>
                <a:cubicBezTo>
                  <a:pt x="377" y="415"/>
                  <a:pt x="377" y="415"/>
                  <a:pt x="377" y="415"/>
                </a:cubicBezTo>
                <a:cubicBezTo>
                  <a:pt x="322" y="410"/>
                  <a:pt x="322" y="410"/>
                  <a:pt x="322" y="410"/>
                </a:cubicBezTo>
                <a:cubicBezTo>
                  <a:pt x="315" y="409"/>
                  <a:pt x="315" y="409"/>
                  <a:pt x="315" y="409"/>
                </a:cubicBezTo>
                <a:cubicBezTo>
                  <a:pt x="307" y="408"/>
                  <a:pt x="307" y="408"/>
                  <a:pt x="307" y="408"/>
                </a:cubicBezTo>
                <a:cubicBezTo>
                  <a:pt x="263" y="404"/>
                  <a:pt x="263" y="404"/>
                  <a:pt x="263" y="404"/>
                </a:cubicBezTo>
                <a:cubicBezTo>
                  <a:pt x="235" y="351"/>
                  <a:pt x="235" y="351"/>
                  <a:pt x="235" y="351"/>
                </a:cubicBezTo>
                <a:cubicBezTo>
                  <a:pt x="226" y="333"/>
                  <a:pt x="226" y="333"/>
                  <a:pt x="226" y="333"/>
                </a:cubicBezTo>
                <a:cubicBezTo>
                  <a:pt x="220" y="323"/>
                  <a:pt x="220" y="323"/>
                  <a:pt x="220" y="323"/>
                </a:cubicBezTo>
                <a:cubicBezTo>
                  <a:pt x="191" y="264"/>
                  <a:pt x="162" y="212"/>
                  <a:pt x="101" y="212"/>
                </a:cubicBezTo>
                <a:cubicBezTo>
                  <a:pt x="54" y="212"/>
                  <a:pt x="18" y="250"/>
                  <a:pt x="12" y="311"/>
                </a:cubicBezTo>
                <a:cubicBezTo>
                  <a:pt x="1" y="474"/>
                  <a:pt x="1" y="474"/>
                  <a:pt x="1" y="474"/>
                </a:cubicBezTo>
                <a:cubicBezTo>
                  <a:pt x="0" y="493"/>
                  <a:pt x="14" y="507"/>
                  <a:pt x="32" y="507"/>
                </a:cubicBezTo>
                <a:cubicBezTo>
                  <a:pt x="181" y="507"/>
                  <a:pt x="181" y="507"/>
                  <a:pt x="181" y="507"/>
                </a:cubicBezTo>
                <a:cubicBezTo>
                  <a:pt x="162" y="455"/>
                  <a:pt x="162" y="455"/>
                  <a:pt x="162" y="455"/>
                </a:cubicBezTo>
                <a:cubicBezTo>
                  <a:pt x="158" y="444"/>
                  <a:pt x="158" y="444"/>
                  <a:pt x="158" y="444"/>
                </a:cubicBezTo>
                <a:cubicBezTo>
                  <a:pt x="153" y="432"/>
                  <a:pt x="153" y="432"/>
                  <a:pt x="153" y="432"/>
                </a:cubicBezTo>
                <a:cubicBezTo>
                  <a:pt x="127" y="361"/>
                  <a:pt x="127" y="361"/>
                  <a:pt x="127" y="361"/>
                </a:cubicBezTo>
                <a:cubicBezTo>
                  <a:pt x="166" y="437"/>
                  <a:pt x="166" y="437"/>
                  <a:pt x="166" y="437"/>
                </a:cubicBezTo>
                <a:cubicBezTo>
                  <a:pt x="171" y="447"/>
                  <a:pt x="171" y="447"/>
                  <a:pt x="171" y="447"/>
                </a:cubicBezTo>
                <a:cubicBezTo>
                  <a:pt x="176" y="457"/>
                  <a:pt x="176" y="457"/>
                  <a:pt x="176" y="457"/>
                </a:cubicBezTo>
                <a:cubicBezTo>
                  <a:pt x="186" y="476"/>
                  <a:pt x="186" y="476"/>
                  <a:pt x="186" y="476"/>
                </a:cubicBezTo>
                <a:cubicBezTo>
                  <a:pt x="195" y="495"/>
                  <a:pt x="215" y="507"/>
                  <a:pt x="236" y="507"/>
                </a:cubicBezTo>
                <a:cubicBezTo>
                  <a:pt x="413" y="507"/>
                  <a:pt x="413" y="507"/>
                  <a:pt x="413" y="507"/>
                </a:cubicBezTo>
                <a:cubicBezTo>
                  <a:pt x="414" y="507"/>
                  <a:pt x="415" y="507"/>
                  <a:pt x="416" y="507"/>
                </a:cubicBezTo>
                <a:cubicBezTo>
                  <a:pt x="438" y="506"/>
                  <a:pt x="454" y="492"/>
                  <a:pt x="457" y="473"/>
                </a:cubicBezTo>
                <a:cubicBezTo>
                  <a:pt x="457" y="471"/>
                  <a:pt x="458" y="469"/>
                  <a:pt x="458" y="467"/>
                </a:cubicBezTo>
                <a:cubicBezTo>
                  <a:pt x="458" y="467"/>
                  <a:pt x="458" y="466"/>
                  <a:pt x="458" y="466"/>
                </a:cubicBezTo>
                <a:cubicBezTo>
                  <a:pt x="458" y="444"/>
                  <a:pt x="442" y="425"/>
                  <a:pt x="421" y="419"/>
                </a:cubicBezTo>
                <a:close/>
                <a:moveTo>
                  <a:pt x="757" y="223"/>
                </a:moveTo>
                <a:cubicBezTo>
                  <a:pt x="756" y="223"/>
                  <a:pt x="756" y="223"/>
                  <a:pt x="756" y="223"/>
                </a:cubicBezTo>
                <a:cubicBezTo>
                  <a:pt x="756" y="223"/>
                  <a:pt x="756" y="223"/>
                  <a:pt x="756" y="223"/>
                </a:cubicBezTo>
                <a:cubicBezTo>
                  <a:pt x="595" y="154"/>
                  <a:pt x="595" y="154"/>
                  <a:pt x="595" y="154"/>
                </a:cubicBezTo>
                <a:cubicBezTo>
                  <a:pt x="594" y="154"/>
                  <a:pt x="594" y="154"/>
                  <a:pt x="594" y="154"/>
                </a:cubicBezTo>
                <a:cubicBezTo>
                  <a:pt x="593" y="153"/>
                  <a:pt x="592" y="152"/>
                  <a:pt x="590" y="152"/>
                </a:cubicBezTo>
                <a:cubicBezTo>
                  <a:pt x="589" y="152"/>
                  <a:pt x="588" y="152"/>
                  <a:pt x="586" y="152"/>
                </a:cubicBezTo>
                <a:cubicBezTo>
                  <a:pt x="581" y="152"/>
                  <a:pt x="576" y="154"/>
                  <a:pt x="574" y="158"/>
                </a:cubicBezTo>
                <a:cubicBezTo>
                  <a:pt x="496" y="346"/>
                  <a:pt x="496" y="346"/>
                  <a:pt x="496" y="346"/>
                </a:cubicBezTo>
                <a:cubicBezTo>
                  <a:pt x="495" y="348"/>
                  <a:pt x="495" y="352"/>
                  <a:pt x="498" y="354"/>
                </a:cubicBezTo>
                <a:cubicBezTo>
                  <a:pt x="498" y="354"/>
                  <a:pt x="498" y="354"/>
                  <a:pt x="498" y="354"/>
                </a:cubicBezTo>
                <a:cubicBezTo>
                  <a:pt x="630" y="471"/>
                  <a:pt x="630" y="471"/>
                  <a:pt x="630" y="471"/>
                </a:cubicBezTo>
                <a:cubicBezTo>
                  <a:pt x="630" y="471"/>
                  <a:pt x="630" y="471"/>
                  <a:pt x="630" y="471"/>
                </a:cubicBezTo>
                <a:cubicBezTo>
                  <a:pt x="630" y="471"/>
                  <a:pt x="630" y="471"/>
                  <a:pt x="630" y="471"/>
                </a:cubicBezTo>
                <a:cubicBezTo>
                  <a:pt x="632" y="472"/>
                  <a:pt x="632" y="472"/>
                  <a:pt x="632" y="472"/>
                </a:cubicBezTo>
                <a:cubicBezTo>
                  <a:pt x="633" y="474"/>
                  <a:pt x="636" y="475"/>
                  <a:pt x="639" y="476"/>
                </a:cubicBezTo>
                <a:cubicBezTo>
                  <a:pt x="640" y="476"/>
                  <a:pt x="640" y="476"/>
                  <a:pt x="641" y="476"/>
                </a:cubicBezTo>
                <a:cubicBezTo>
                  <a:pt x="643" y="476"/>
                  <a:pt x="645" y="477"/>
                  <a:pt x="648" y="477"/>
                </a:cubicBezTo>
                <a:cubicBezTo>
                  <a:pt x="656" y="477"/>
                  <a:pt x="664" y="473"/>
                  <a:pt x="668" y="465"/>
                </a:cubicBezTo>
                <a:cubicBezTo>
                  <a:pt x="673" y="456"/>
                  <a:pt x="754" y="277"/>
                  <a:pt x="762" y="256"/>
                </a:cubicBezTo>
                <a:cubicBezTo>
                  <a:pt x="772" y="229"/>
                  <a:pt x="757" y="223"/>
                  <a:pt x="757" y="223"/>
                </a:cubicBezTo>
                <a:close/>
                <a:moveTo>
                  <a:pt x="636" y="442"/>
                </a:moveTo>
                <a:cubicBezTo>
                  <a:pt x="516" y="347"/>
                  <a:pt x="516" y="347"/>
                  <a:pt x="516" y="347"/>
                </a:cubicBezTo>
                <a:cubicBezTo>
                  <a:pt x="587" y="174"/>
                  <a:pt x="587" y="174"/>
                  <a:pt x="587" y="174"/>
                </a:cubicBezTo>
                <a:cubicBezTo>
                  <a:pt x="728" y="235"/>
                  <a:pt x="728" y="235"/>
                  <a:pt x="728" y="235"/>
                </a:cubicBezTo>
                <a:lnTo>
                  <a:pt x="636" y="442"/>
                </a:lnTo>
                <a:close/>
                <a:moveTo>
                  <a:pt x="498" y="361"/>
                </a:moveTo>
                <a:cubicBezTo>
                  <a:pt x="493" y="357"/>
                  <a:pt x="483" y="353"/>
                  <a:pt x="475" y="353"/>
                </a:cubicBezTo>
                <a:cubicBezTo>
                  <a:pt x="394" y="353"/>
                  <a:pt x="394" y="353"/>
                  <a:pt x="394" y="353"/>
                </a:cubicBezTo>
                <a:cubicBezTo>
                  <a:pt x="397" y="356"/>
                  <a:pt x="399" y="360"/>
                  <a:pt x="401" y="364"/>
                </a:cubicBezTo>
                <a:cubicBezTo>
                  <a:pt x="410" y="364"/>
                  <a:pt x="410" y="364"/>
                  <a:pt x="410" y="364"/>
                </a:cubicBezTo>
                <a:cubicBezTo>
                  <a:pt x="416" y="371"/>
                  <a:pt x="416" y="371"/>
                  <a:pt x="416" y="371"/>
                </a:cubicBezTo>
                <a:cubicBezTo>
                  <a:pt x="405" y="371"/>
                  <a:pt x="405" y="371"/>
                  <a:pt x="405" y="371"/>
                </a:cubicBezTo>
                <a:cubicBezTo>
                  <a:pt x="406" y="376"/>
                  <a:pt x="407" y="380"/>
                  <a:pt x="408" y="385"/>
                </a:cubicBezTo>
                <a:cubicBezTo>
                  <a:pt x="408" y="390"/>
                  <a:pt x="408" y="394"/>
                  <a:pt x="407" y="399"/>
                </a:cubicBezTo>
                <a:cubicBezTo>
                  <a:pt x="415" y="399"/>
                  <a:pt x="415" y="399"/>
                  <a:pt x="415" y="399"/>
                </a:cubicBezTo>
                <a:cubicBezTo>
                  <a:pt x="420" y="400"/>
                  <a:pt x="424" y="401"/>
                  <a:pt x="429" y="402"/>
                </a:cubicBezTo>
                <a:cubicBezTo>
                  <a:pt x="441" y="402"/>
                  <a:pt x="441" y="402"/>
                  <a:pt x="441" y="402"/>
                </a:cubicBezTo>
                <a:cubicBezTo>
                  <a:pt x="448" y="411"/>
                  <a:pt x="448" y="411"/>
                  <a:pt x="448" y="411"/>
                </a:cubicBezTo>
                <a:cubicBezTo>
                  <a:pt x="447" y="411"/>
                  <a:pt x="447" y="411"/>
                  <a:pt x="447" y="411"/>
                </a:cubicBezTo>
                <a:cubicBezTo>
                  <a:pt x="458" y="419"/>
                  <a:pt x="467" y="429"/>
                  <a:pt x="472" y="442"/>
                </a:cubicBezTo>
                <a:cubicBezTo>
                  <a:pt x="473" y="442"/>
                  <a:pt x="473" y="442"/>
                  <a:pt x="473" y="442"/>
                </a:cubicBezTo>
                <a:cubicBezTo>
                  <a:pt x="480" y="451"/>
                  <a:pt x="480" y="451"/>
                  <a:pt x="480" y="451"/>
                </a:cubicBezTo>
                <a:cubicBezTo>
                  <a:pt x="475" y="451"/>
                  <a:pt x="475" y="451"/>
                  <a:pt x="475" y="451"/>
                </a:cubicBezTo>
                <a:cubicBezTo>
                  <a:pt x="475" y="454"/>
                  <a:pt x="476" y="458"/>
                  <a:pt x="476" y="462"/>
                </a:cubicBezTo>
                <a:cubicBezTo>
                  <a:pt x="490" y="462"/>
                  <a:pt x="490" y="462"/>
                  <a:pt x="490" y="462"/>
                </a:cubicBezTo>
                <a:cubicBezTo>
                  <a:pt x="498" y="473"/>
                  <a:pt x="498" y="473"/>
                  <a:pt x="498" y="473"/>
                </a:cubicBezTo>
                <a:cubicBezTo>
                  <a:pt x="480" y="473"/>
                  <a:pt x="480" y="473"/>
                  <a:pt x="480" y="473"/>
                </a:cubicBezTo>
                <a:cubicBezTo>
                  <a:pt x="476" y="468"/>
                  <a:pt x="476" y="468"/>
                  <a:pt x="476" y="468"/>
                </a:cubicBezTo>
                <a:cubicBezTo>
                  <a:pt x="476" y="483"/>
                  <a:pt x="470" y="497"/>
                  <a:pt x="460" y="507"/>
                </a:cubicBezTo>
                <a:cubicBezTo>
                  <a:pt x="609" y="507"/>
                  <a:pt x="609" y="507"/>
                  <a:pt x="609" y="507"/>
                </a:cubicBezTo>
                <a:cubicBezTo>
                  <a:pt x="616" y="507"/>
                  <a:pt x="623" y="502"/>
                  <a:pt x="623" y="497"/>
                </a:cubicBezTo>
                <a:cubicBezTo>
                  <a:pt x="623" y="491"/>
                  <a:pt x="623" y="491"/>
                  <a:pt x="623" y="491"/>
                </a:cubicBezTo>
                <a:cubicBezTo>
                  <a:pt x="623" y="486"/>
                  <a:pt x="619" y="477"/>
                  <a:pt x="614" y="473"/>
                </a:cubicBezTo>
                <a:lnTo>
                  <a:pt x="498" y="361"/>
                </a:lnTo>
                <a:close/>
                <a:moveTo>
                  <a:pt x="552" y="451"/>
                </a:moveTo>
                <a:cubicBezTo>
                  <a:pt x="534" y="451"/>
                  <a:pt x="534" y="451"/>
                  <a:pt x="534" y="451"/>
                </a:cubicBezTo>
                <a:cubicBezTo>
                  <a:pt x="527" y="442"/>
                  <a:pt x="527" y="442"/>
                  <a:pt x="527" y="442"/>
                </a:cubicBezTo>
                <a:cubicBezTo>
                  <a:pt x="544" y="442"/>
                  <a:pt x="544" y="442"/>
                  <a:pt x="544" y="442"/>
                </a:cubicBezTo>
                <a:lnTo>
                  <a:pt x="552" y="451"/>
                </a:lnTo>
                <a:close/>
                <a:moveTo>
                  <a:pt x="534" y="431"/>
                </a:moveTo>
                <a:cubicBezTo>
                  <a:pt x="517" y="431"/>
                  <a:pt x="517" y="431"/>
                  <a:pt x="517" y="431"/>
                </a:cubicBezTo>
                <a:cubicBezTo>
                  <a:pt x="510" y="422"/>
                  <a:pt x="510" y="422"/>
                  <a:pt x="510" y="422"/>
                </a:cubicBezTo>
                <a:cubicBezTo>
                  <a:pt x="526" y="422"/>
                  <a:pt x="526" y="422"/>
                  <a:pt x="526" y="422"/>
                </a:cubicBezTo>
                <a:lnTo>
                  <a:pt x="534" y="431"/>
                </a:lnTo>
                <a:close/>
                <a:moveTo>
                  <a:pt x="508" y="402"/>
                </a:moveTo>
                <a:cubicBezTo>
                  <a:pt x="516" y="411"/>
                  <a:pt x="516" y="411"/>
                  <a:pt x="516" y="411"/>
                </a:cubicBezTo>
                <a:cubicBezTo>
                  <a:pt x="500" y="411"/>
                  <a:pt x="500" y="411"/>
                  <a:pt x="500" y="411"/>
                </a:cubicBezTo>
                <a:cubicBezTo>
                  <a:pt x="493" y="402"/>
                  <a:pt x="493" y="402"/>
                  <a:pt x="493" y="402"/>
                </a:cubicBezTo>
                <a:lnTo>
                  <a:pt x="508" y="402"/>
                </a:lnTo>
                <a:close/>
                <a:moveTo>
                  <a:pt x="498" y="391"/>
                </a:moveTo>
                <a:cubicBezTo>
                  <a:pt x="483" y="391"/>
                  <a:pt x="483" y="391"/>
                  <a:pt x="483" y="391"/>
                </a:cubicBezTo>
                <a:cubicBezTo>
                  <a:pt x="475" y="382"/>
                  <a:pt x="475" y="382"/>
                  <a:pt x="475" y="382"/>
                </a:cubicBezTo>
                <a:cubicBezTo>
                  <a:pt x="489" y="382"/>
                  <a:pt x="489" y="382"/>
                  <a:pt x="489" y="382"/>
                </a:cubicBezTo>
                <a:lnTo>
                  <a:pt x="498" y="391"/>
                </a:lnTo>
                <a:close/>
                <a:moveTo>
                  <a:pt x="473" y="364"/>
                </a:moveTo>
                <a:cubicBezTo>
                  <a:pt x="480" y="371"/>
                  <a:pt x="480" y="371"/>
                  <a:pt x="480" y="371"/>
                </a:cubicBezTo>
                <a:cubicBezTo>
                  <a:pt x="466" y="371"/>
                  <a:pt x="466" y="371"/>
                  <a:pt x="466" y="371"/>
                </a:cubicBezTo>
                <a:cubicBezTo>
                  <a:pt x="460" y="364"/>
                  <a:pt x="460" y="364"/>
                  <a:pt x="460" y="364"/>
                </a:cubicBezTo>
                <a:lnTo>
                  <a:pt x="473" y="364"/>
                </a:lnTo>
                <a:close/>
                <a:moveTo>
                  <a:pt x="417" y="391"/>
                </a:moveTo>
                <a:cubicBezTo>
                  <a:pt x="410" y="382"/>
                  <a:pt x="410" y="382"/>
                  <a:pt x="410" y="382"/>
                </a:cubicBezTo>
                <a:cubicBezTo>
                  <a:pt x="425" y="382"/>
                  <a:pt x="425" y="382"/>
                  <a:pt x="425" y="382"/>
                </a:cubicBezTo>
                <a:cubicBezTo>
                  <a:pt x="432" y="391"/>
                  <a:pt x="432" y="391"/>
                  <a:pt x="432" y="391"/>
                </a:cubicBezTo>
                <a:lnTo>
                  <a:pt x="417" y="391"/>
                </a:lnTo>
                <a:close/>
                <a:moveTo>
                  <a:pt x="434" y="371"/>
                </a:moveTo>
                <a:cubicBezTo>
                  <a:pt x="428" y="364"/>
                  <a:pt x="428" y="364"/>
                  <a:pt x="428" y="364"/>
                </a:cubicBezTo>
                <a:cubicBezTo>
                  <a:pt x="441" y="364"/>
                  <a:pt x="441" y="364"/>
                  <a:pt x="441" y="364"/>
                </a:cubicBezTo>
                <a:cubicBezTo>
                  <a:pt x="448" y="371"/>
                  <a:pt x="448" y="371"/>
                  <a:pt x="448" y="371"/>
                </a:cubicBezTo>
                <a:lnTo>
                  <a:pt x="434" y="371"/>
                </a:lnTo>
                <a:close/>
                <a:moveTo>
                  <a:pt x="450" y="391"/>
                </a:moveTo>
                <a:cubicBezTo>
                  <a:pt x="443" y="382"/>
                  <a:pt x="443" y="382"/>
                  <a:pt x="443" y="382"/>
                </a:cubicBezTo>
                <a:cubicBezTo>
                  <a:pt x="457" y="382"/>
                  <a:pt x="457" y="382"/>
                  <a:pt x="457" y="382"/>
                </a:cubicBezTo>
                <a:cubicBezTo>
                  <a:pt x="465" y="391"/>
                  <a:pt x="465" y="391"/>
                  <a:pt x="465" y="391"/>
                </a:cubicBezTo>
                <a:lnTo>
                  <a:pt x="450" y="391"/>
                </a:lnTo>
                <a:close/>
                <a:moveTo>
                  <a:pt x="466" y="411"/>
                </a:moveTo>
                <a:cubicBezTo>
                  <a:pt x="459" y="402"/>
                  <a:pt x="459" y="402"/>
                  <a:pt x="459" y="402"/>
                </a:cubicBezTo>
                <a:cubicBezTo>
                  <a:pt x="474" y="402"/>
                  <a:pt x="474" y="402"/>
                  <a:pt x="474" y="402"/>
                </a:cubicBezTo>
                <a:cubicBezTo>
                  <a:pt x="482" y="411"/>
                  <a:pt x="482" y="411"/>
                  <a:pt x="482" y="411"/>
                </a:cubicBezTo>
                <a:lnTo>
                  <a:pt x="466" y="411"/>
                </a:lnTo>
                <a:close/>
                <a:moveTo>
                  <a:pt x="482" y="431"/>
                </a:moveTo>
                <a:cubicBezTo>
                  <a:pt x="475" y="422"/>
                  <a:pt x="475" y="422"/>
                  <a:pt x="475" y="422"/>
                </a:cubicBezTo>
                <a:cubicBezTo>
                  <a:pt x="491" y="422"/>
                  <a:pt x="491" y="422"/>
                  <a:pt x="491" y="422"/>
                </a:cubicBezTo>
                <a:cubicBezTo>
                  <a:pt x="499" y="431"/>
                  <a:pt x="499" y="431"/>
                  <a:pt x="499" y="431"/>
                </a:cubicBezTo>
                <a:lnTo>
                  <a:pt x="482" y="431"/>
                </a:lnTo>
                <a:close/>
                <a:moveTo>
                  <a:pt x="492" y="442"/>
                </a:moveTo>
                <a:cubicBezTo>
                  <a:pt x="508" y="442"/>
                  <a:pt x="508" y="442"/>
                  <a:pt x="508" y="442"/>
                </a:cubicBezTo>
                <a:cubicBezTo>
                  <a:pt x="516" y="451"/>
                  <a:pt x="516" y="451"/>
                  <a:pt x="516" y="451"/>
                </a:cubicBezTo>
                <a:cubicBezTo>
                  <a:pt x="499" y="451"/>
                  <a:pt x="499" y="451"/>
                  <a:pt x="499" y="451"/>
                </a:cubicBezTo>
                <a:lnTo>
                  <a:pt x="492" y="442"/>
                </a:lnTo>
                <a:close/>
                <a:moveTo>
                  <a:pt x="517" y="473"/>
                </a:moveTo>
                <a:cubicBezTo>
                  <a:pt x="508" y="462"/>
                  <a:pt x="508" y="462"/>
                  <a:pt x="508" y="462"/>
                </a:cubicBezTo>
                <a:cubicBezTo>
                  <a:pt x="526" y="462"/>
                  <a:pt x="526" y="462"/>
                  <a:pt x="526" y="462"/>
                </a:cubicBezTo>
                <a:cubicBezTo>
                  <a:pt x="535" y="473"/>
                  <a:pt x="535" y="473"/>
                  <a:pt x="535" y="473"/>
                </a:cubicBezTo>
                <a:lnTo>
                  <a:pt x="517" y="473"/>
                </a:lnTo>
                <a:close/>
                <a:moveTo>
                  <a:pt x="554" y="473"/>
                </a:moveTo>
                <a:cubicBezTo>
                  <a:pt x="544" y="462"/>
                  <a:pt x="544" y="462"/>
                  <a:pt x="544" y="462"/>
                </a:cubicBezTo>
                <a:cubicBezTo>
                  <a:pt x="562" y="462"/>
                  <a:pt x="562" y="462"/>
                  <a:pt x="562" y="462"/>
                </a:cubicBezTo>
                <a:cubicBezTo>
                  <a:pt x="572" y="473"/>
                  <a:pt x="572" y="473"/>
                  <a:pt x="572" y="473"/>
                </a:cubicBezTo>
                <a:lnTo>
                  <a:pt x="554" y="4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/>
          <a:lstStyle/>
          <a:p>
            <a:pPr defTabSz="685800">
              <a:defRPr/>
            </a:pPr>
            <a:endParaRPr lang="fr-FR" sz="1350" ker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8879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43093EA-537B-4F16-B49F-C3A150F0F291}"/>
              </a:ext>
            </a:extLst>
          </p:cNvPr>
          <p:cNvSpPr/>
          <p:nvPr/>
        </p:nvSpPr>
        <p:spPr>
          <a:xfrm>
            <a:off x="0" y="843558"/>
            <a:ext cx="9144000" cy="1008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1" name="Titre 6">
            <a:extLst>
              <a:ext uri="{FF2B5EF4-FFF2-40B4-BE49-F238E27FC236}">
                <a16:creationId xmlns:a16="http://schemas.microsoft.com/office/drawing/2014/main" id="{EF012AB3-AC73-4331-B3B1-1EC999F3A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6162" y="95418"/>
            <a:ext cx="7631200" cy="478548"/>
          </a:xfrm>
        </p:spPr>
        <p:txBody>
          <a:bodyPr/>
          <a:lstStyle/>
          <a:p>
            <a:r>
              <a:rPr lang="fr-FR" sz="1800"/>
              <a:t>Fiche synthèse de la qualification</a:t>
            </a:r>
            <a:br>
              <a:rPr lang="fr-FR" sz="1800"/>
            </a:br>
            <a:r>
              <a:rPr lang="fr-FR" sz="1350" b="0" i="1">
                <a:solidFill>
                  <a:schemeClr val="accent4"/>
                </a:solidFill>
              </a:rPr>
              <a:t> Indus constatés sur rémunération</a:t>
            </a:r>
            <a:br>
              <a:rPr lang="fr-FR" sz="1350" b="0" i="1">
                <a:solidFill>
                  <a:schemeClr val="accent4"/>
                </a:solidFill>
              </a:rPr>
            </a:br>
            <a:br>
              <a:rPr lang="fr-FR" sz="1350" b="0" i="1">
                <a:solidFill>
                  <a:schemeClr val="accent4"/>
                </a:solidFill>
              </a:rPr>
            </a:br>
            <a:endParaRPr lang="fr-FR" sz="1350" b="0" i="1">
              <a:solidFill>
                <a:schemeClr val="accent4"/>
              </a:solidFill>
            </a:endParaRPr>
          </a:p>
        </p:txBody>
      </p:sp>
      <p:sp>
        <p:nvSpPr>
          <p:cNvPr id="107" name="Espace réservé du numéro de diapositive 4">
            <a:extLst>
              <a:ext uri="{FF2B5EF4-FFF2-40B4-BE49-F238E27FC236}">
                <a16:creationId xmlns:a16="http://schemas.microsoft.com/office/drawing/2014/main" id="{3B4C0C11-F10E-44B2-84A6-4FF34FAE22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64003" y="4783500"/>
            <a:ext cx="1350000" cy="360000"/>
          </a:xfr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2663F11-A8F6-4CE4-94C7-8F6CEF6F646B}"/>
              </a:ext>
            </a:extLst>
          </p:cNvPr>
          <p:cNvSpPr/>
          <p:nvPr/>
        </p:nvSpPr>
        <p:spPr>
          <a:xfrm>
            <a:off x="426763" y="932067"/>
            <a:ext cx="183402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s objectifs du processus</a:t>
            </a:r>
          </a:p>
        </p:txBody>
      </p:sp>
      <p:pic>
        <p:nvPicPr>
          <p:cNvPr id="80" name="Graphic 79" descr="Bullseye">
            <a:extLst>
              <a:ext uri="{FF2B5EF4-FFF2-40B4-BE49-F238E27FC236}">
                <a16:creationId xmlns:a16="http://schemas.microsoft.com/office/drawing/2014/main" id="{4A9A9508-C158-4CA7-82B0-3B9DEE3456D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8642" y="921022"/>
            <a:ext cx="288000" cy="288000"/>
          </a:xfrm>
          <a:prstGeom prst="rect">
            <a:avLst/>
          </a:prstGeom>
        </p:spPr>
      </p:pic>
      <p:pic>
        <p:nvPicPr>
          <p:cNvPr id="4" name="Graphic 3" descr="Checklist with solid fill">
            <a:extLst>
              <a:ext uri="{FF2B5EF4-FFF2-40B4-BE49-F238E27FC236}">
                <a16:creationId xmlns:a16="http://schemas.microsoft.com/office/drawing/2014/main" id="{5B8170B6-9BFC-4876-B0A2-F3EE13AF67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28651" y="921022"/>
            <a:ext cx="288000" cy="288000"/>
          </a:xfrm>
          <a:prstGeom prst="rect">
            <a:avLst/>
          </a:prstGeom>
        </p:spPr>
      </p:pic>
      <p:sp>
        <p:nvSpPr>
          <p:cNvPr id="92" name="Rectangle 91">
            <a:extLst>
              <a:ext uri="{FF2B5EF4-FFF2-40B4-BE49-F238E27FC236}">
                <a16:creationId xmlns:a16="http://schemas.microsoft.com/office/drawing/2014/main" id="{E462A1C3-FA2E-4562-B676-AE7F60ACA804}"/>
              </a:ext>
            </a:extLst>
          </p:cNvPr>
          <p:cNvSpPr/>
          <p:nvPr/>
        </p:nvSpPr>
        <p:spPr>
          <a:xfrm>
            <a:off x="5316651" y="932067"/>
            <a:ext cx="18632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 périmètre du processus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96EAE339-40F8-4A36-A6BB-D2FBDA6546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7086562"/>
              </p:ext>
            </p:extLst>
          </p:nvPr>
        </p:nvGraphicFramePr>
        <p:xfrm>
          <a:off x="247154" y="1910689"/>
          <a:ext cx="8530209" cy="1107965"/>
        </p:xfrm>
        <a:graphic>
          <a:graphicData uri="http://schemas.openxmlformats.org/drawingml/2006/table">
            <a:tbl>
              <a:tblPr firstRow="1" bandRow="1"/>
              <a:tblGrid>
                <a:gridCol w="2843403">
                  <a:extLst>
                    <a:ext uri="{9D8B030D-6E8A-4147-A177-3AD203B41FA5}">
                      <a16:colId xmlns:a16="http://schemas.microsoft.com/office/drawing/2014/main" val="238964073"/>
                    </a:ext>
                  </a:extLst>
                </a:gridCol>
                <a:gridCol w="2843403">
                  <a:extLst>
                    <a:ext uri="{9D8B030D-6E8A-4147-A177-3AD203B41FA5}">
                      <a16:colId xmlns:a16="http://schemas.microsoft.com/office/drawing/2014/main" val="128870768"/>
                    </a:ext>
                  </a:extLst>
                </a:gridCol>
                <a:gridCol w="2843403">
                  <a:extLst>
                    <a:ext uri="{9D8B030D-6E8A-4147-A177-3AD203B41FA5}">
                      <a16:colId xmlns:a16="http://schemas.microsoft.com/office/drawing/2014/main" val="2761633975"/>
                    </a:ext>
                  </a:extLst>
                </a:gridCol>
              </a:tblGrid>
              <a:tr h="2318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utiger 45 Light"/>
                          <a:ea typeface="MS P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utiger 45 Light"/>
                          <a:ea typeface="MS P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utiger 45 Light"/>
                          <a:ea typeface="MS P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utiger 45 Light"/>
                          <a:ea typeface="MS P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utiger 45 Light"/>
                          <a:ea typeface="MS P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utiger 45 Light"/>
                          <a:ea typeface="MS P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utiger 45 Light"/>
                          <a:ea typeface="MS P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utiger 45 Light"/>
                          <a:ea typeface="MS P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utiger 45 Light"/>
                          <a:ea typeface="MS P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noProof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Acteur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noProof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Nom et Prénom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noProof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Contact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1903836"/>
                  </a:ext>
                </a:extLst>
              </a:tr>
              <a:tr h="292049">
                <a:tc>
                  <a:txBody>
                    <a:bodyPr/>
                    <a:lstStyle/>
                    <a:p>
                      <a:pPr algn="ctr"/>
                      <a:r>
                        <a:rPr lang="fr-FR" sz="1000" b="0" i="0" noProof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sponsable du processus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i="0" noProof="0">
                          <a:solidFill>
                            <a:srgbClr val="0070C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écile Boussaud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053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i="0" noProof="0">
                        <a:solidFill>
                          <a:srgbClr val="0070C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1090648"/>
                  </a:ext>
                </a:extLst>
              </a:tr>
              <a:tr h="292049">
                <a:tc>
                  <a:txBody>
                    <a:bodyPr/>
                    <a:lstStyle/>
                    <a:p>
                      <a:pPr algn="ctr"/>
                      <a:r>
                        <a:rPr lang="fr-FR" sz="1000" b="0" i="0" noProof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xpert métier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 i="0" noProof="0">
                        <a:solidFill>
                          <a:srgbClr val="0070C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i="0" kern="1200" noProof="0">
                        <a:solidFill>
                          <a:srgbClr val="0070C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0025323"/>
                  </a:ext>
                </a:extLst>
              </a:tr>
              <a:tr h="292049">
                <a:tc>
                  <a:txBody>
                    <a:bodyPr/>
                    <a:lstStyle/>
                    <a:p>
                      <a:pPr algn="ctr"/>
                      <a:r>
                        <a:rPr lang="fr-FR" sz="1000" b="0" i="0" noProof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sponsable(s) SI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i="0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53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000" i="0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5970972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02E16CDB-B77A-4EAE-8CEC-EF62880D9D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7344581"/>
              </p:ext>
            </p:extLst>
          </p:nvPr>
        </p:nvGraphicFramePr>
        <p:xfrm>
          <a:off x="247154" y="3806367"/>
          <a:ext cx="3430332" cy="9379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72355">
                  <a:extLst>
                    <a:ext uri="{9D8B030D-6E8A-4147-A177-3AD203B41FA5}">
                      <a16:colId xmlns:a16="http://schemas.microsoft.com/office/drawing/2014/main" val="2518161707"/>
                    </a:ext>
                  </a:extLst>
                </a:gridCol>
                <a:gridCol w="2857977">
                  <a:extLst>
                    <a:ext uri="{9D8B030D-6E8A-4147-A177-3AD203B41FA5}">
                      <a16:colId xmlns:a16="http://schemas.microsoft.com/office/drawing/2014/main" val="3624137907"/>
                    </a:ext>
                  </a:extLst>
                </a:gridCol>
              </a:tblGrid>
              <a:tr h="216000">
                <a:tc gridSpan="2"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fr-FR" sz="800" b="1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Valeur métier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fr-FR" sz="800" b="1" kern="120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MS PGothic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185861"/>
                  </a:ext>
                </a:extLst>
              </a:tr>
              <a:tr h="239034">
                <a:tc>
                  <a:txBody>
                    <a:bodyPr/>
                    <a:lstStyle/>
                    <a:p>
                      <a:pPr marL="0" algn="l" defTabSz="685783" rtl="0" eaLnBrk="1" latinLnBrk="0" hangingPunct="1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fr-FR" sz="800" b="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Charg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fr-FR" sz="800" b="1" i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,28 ETP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2139219"/>
                  </a:ext>
                </a:extLst>
              </a:tr>
              <a:tr h="239034">
                <a:tc>
                  <a:txBody>
                    <a:bodyPr/>
                    <a:lstStyle/>
                    <a:p>
                      <a:pPr marL="0" algn="l" defTabSz="685783" rtl="0" eaLnBrk="1" latinLnBrk="0" hangingPunct="1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fr-FR" sz="800" b="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Qualité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8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lité du processus (formater)</a:t>
                      </a:r>
                    </a:p>
                    <a:p>
                      <a:pPr marL="171450" marR="0" lvl="0" indent="-17145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8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limentation des outils de pilotag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5715505"/>
                  </a:ext>
                </a:extLst>
              </a:tr>
              <a:tr h="239034">
                <a:tc>
                  <a:txBody>
                    <a:bodyPr/>
                    <a:lstStyle/>
                    <a:p>
                      <a:pPr marL="0" algn="l" defTabSz="685783" rtl="0" eaLnBrk="1" latinLnBrk="0" hangingPunct="1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fr-FR" sz="800" b="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Délai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fr-FR" sz="800" b="0" i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éduction du délai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5758227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99770C0A-7015-429C-AC25-C507CBFCAA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6944977"/>
              </p:ext>
            </p:extLst>
          </p:nvPr>
        </p:nvGraphicFramePr>
        <p:xfrm>
          <a:off x="6084168" y="3806367"/>
          <a:ext cx="2693194" cy="93310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93194">
                  <a:extLst>
                    <a:ext uri="{9D8B030D-6E8A-4147-A177-3AD203B41FA5}">
                      <a16:colId xmlns:a16="http://schemas.microsoft.com/office/drawing/2014/main" val="3624137907"/>
                    </a:ext>
                  </a:extLst>
                </a:gridCol>
              </a:tblGrid>
              <a:tr h="222384"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fr-FR" sz="800" b="1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Décision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185861"/>
                  </a:ext>
                </a:extLst>
              </a:tr>
              <a:tr h="710718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2139219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5D586F70-E9D4-4108-8FCA-85A1A0788F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4041786"/>
              </p:ext>
            </p:extLst>
          </p:nvPr>
        </p:nvGraphicFramePr>
        <p:xfrm>
          <a:off x="3821502" y="3806367"/>
          <a:ext cx="2118650" cy="93811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7585">
                  <a:extLst>
                    <a:ext uri="{9D8B030D-6E8A-4147-A177-3AD203B41FA5}">
                      <a16:colId xmlns:a16="http://schemas.microsoft.com/office/drawing/2014/main" val="2518161707"/>
                    </a:ext>
                  </a:extLst>
                </a:gridCol>
                <a:gridCol w="1601065">
                  <a:extLst>
                    <a:ext uri="{9D8B030D-6E8A-4147-A177-3AD203B41FA5}">
                      <a16:colId xmlns:a16="http://schemas.microsoft.com/office/drawing/2014/main" val="3624137907"/>
                    </a:ext>
                  </a:extLst>
                </a:gridCol>
              </a:tblGrid>
              <a:tr h="216000">
                <a:tc gridSpan="2"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fr-FR" sz="800" b="1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Complexité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fr-FR" sz="800" b="1" kern="120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MS PGothic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185861"/>
                  </a:ext>
                </a:extLst>
              </a:tr>
              <a:tr h="361057">
                <a:tc>
                  <a:txBody>
                    <a:bodyPr/>
                    <a:lstStyle/>
                    <a:p>
                      <a:pPr marL="0" algn="l" defTabSz="685783" rtl="0" eaLnBrk="1" latinLnBrk="0" hangingPunct="1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fr-FR" sz="800" b="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Métier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fr-FR" sz="800" b="0" i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2139219"/>
                  </a:ext>
                </a:extLst>
              </a:tr>
              <a:tr h="361057">
                <a:tc>
                  <a:txBody>
                    <a:bodyPr/>
                    <a:lstStyle/>
                    <a:p>
                      <a:pPr marL="0" algn="l" defTabSz="685783" rtl="0" eaLnBrk="1" latinLnBrk="0" hangingPunct="1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fr-FR" sz="800" b="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SI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fr-FR" sz="800" b="0" i="0" kern="120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5715505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699D5131-8300-44DB-9312-1BBACA1FA3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1711028"/>
              </p:ext>
            </p:extLst>
          </p:nvPr>
        </p:nvGraphicFramePr>
        <p:xfrm>
          <a:off x="247154" y="3077673"/>
          <a:ext cx="8530210" cy="689675"/>
        </p:xfrm>
        <a:graphic>
          <a:graphicData uri="http://schemas.openxmlformats.org/drawingml/2006/table">
            <a:tbl>
              <a:tblPr firstRow="1" bandRow="1"/>
              <a:tblGrid>
                <a:gridCol w="1529888">
                  <a:extLst>
                    <a:ext uri="{9D8B030D-6E8A-4147-A177-3AD203B41FA5}">
                      <a16:colId xmlns:a16="http://schemas.microsoft.com/office/drawing/2014/main" val="238964073"/>
                    </a:ext>
                  </a:extLst>
                </a:gridCol>
                <a:gridCol w="1613139">
                  <a:extLst>
                    <a:ext uri="{9D8B030D-6E8A-4147-A177-3AD203B41FA5}">
                      <a16:colId xmlns:a16="http://schemas.microsoft.com/office/drawing/2014/main" val="128870768"/>
                    </a:ext>
                  </a:extLst>
                </a:gridCol>
                <a:gridCol w="1406106">
                  <a:extLst>
                    <a:ext uri="{9D8B030D-6E8A-4147-A177-3AD203B41FA5}">
                      <a16:colId xmlns:a16="http://schemas.microsoft.com/office/drawing/2014/main" val="2761633975"/>
                    </a:ext>
                  </a:extLst>
                </a:gridCol>
                <a:gridCol w="2275035">
                  <a:extLst>
                    <a:ext uri="{9D8B030D-6E8A-4147-A177-3AD203B41FA5}">
                      <a16:colId xmlns:a16="http://schemas.microsoft.com/office/drawing/2014/main" val="2992914575"/>
                    </a:ext>
                  </a:extLst>
                </a:gridCol>
                <a:gridCol w="1706042">
                  <a:extLst>
                    <a:ext uri="{9D8B030D-6E8A-4147-A177-3AD203B41FA5}">
                      <a16:colId xmlns:a16="http://schemas.microsoft.com/office/drawing/2014/main" val="1710703444"/>
                    </a:ext>
                  </a:extLst>
                </a:gridCol>
              </a:tblGrid>
              <a:tr h="2318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utiger 45 Light"/>
                          <a:ea typeface="MS P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utiger 45 Light"/>
                          <a:ea typeface="MS P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utiger 45 Light"/>
                          <a:ea typeface="MS P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utiger 45 Light"/>
                          <a:ea typeface="MS P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utiger 45 Light"/>
                          <a:ea typeface="MS P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utiger 45 Light"/>
                          <a:ea typeface="MS P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utiger 45 Light"/>
                          <a:ea typeface="MS P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utiger 45 Light"/>
                          <a:ea typeface="MS P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utiger 45 Light"/>
                          <a:ea typeface="MS P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noProof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Tâches manuelles et répétitives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noProof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Processus basé sur des règles 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noProof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Données structurées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noProof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Peu d'exception et peu de changements de système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kern="1200" noProof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Volume élevé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1903836"/>
                  </a:ext>
                </a:extLst>
              </a:tr>
              <a:tr h="292049">
                <a:tc>
                  <a:txBody>
                    <a:bodyPr/>
                    <a:lstStyle/>
                    <a:p>
                      <a:pPr algn="ctr"/>
                      <a:r>
                        <a:rPr kumimoji="0" lang="fr-F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fr-FR" sz="1000" b="0" i="0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fr-F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fr-FR" sz="1000" i="0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53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fr-FR" sz="1000" i="1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053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fr-FR" sz="1000" i="1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53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fr-FR" sz="1000" i="1" noProof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1090648"/>
                  </a:ext>
                </a:extLst>
              </a:tr>
            </a:tbl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CD52A41D-1B47-4553-A229-232209E409D7}"/>
              </a:ext>
            </a:extLst>
          </p:cNvPr>
          <p:cNvSpPr/>
          <p:nvPr/>
        </p:nvSpPr>
        <p:spPr>
          <a:xfrm>
            <a:off x="426763" y="1253324"/>
            <a:ext cx="21993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E094B3D-64C1-4D18-B25A-D8FE0046C570}"/>
              </a:ext>
            </a:extLst>
          </p:cNvPr>
          <p:cNvSpPr/>
          <p:nvPr/>
        </p:nvSpPr>
        <p:spPr>
          <a:xfrm>
            <a:off x="426763" y="1187673"/>
            <a:ext cx="3880643" cy="394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91" lvl="2" indent="-128591">
              <a:spcAft>
                <a:spcPts val="151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>
                <a:latin typeface="Calibri" panose="020F0502020204030204" pitchFamily="34" charset="0"/>
                <a:cs typeface="Calibri" panose="020F0502020204030204" pitchFamily="34" charset="0"/>
              </a:rPr>
              <a:t>Compléter le PKO afin de traiter les indus constatés sur rémunération</a:t>
            </a:r>
          </a:p>
          <a:p>
            <a:pPr marL="128591" lvl="2" indent="-128591">
              <a:spcAft>
                <a:spcPts val="151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>
                <a:latin typeface="Calibri" panose="020F0502020204030204" pitchFamily="34" charset="0"/>
                <a:cs typeface="Calibri" panose="020F0502020204030204" pitchFamily="34" charset="0"/>
              </a:rPr>
              <a:t>Générer le courrier à l’agent et les informations à communiquer à la DAF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6FA8801-2F3B-4404-806A-B660754A42DA}"/>
              </a:ext>
            </a:extLst>
          </p:cNvPr>
          <p:cNvSpPr/>
          <p:nvPr/>
        </p:nvSpPr>
        <p:spPr>
          <a:xfrm>
            <a:off x="5316651" y="1182115"/>
            <a:ext cx="258444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91" lvl="2" indent="-128591">
              <a:spcAft>
                <a:spcPts val="151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sz="900">
                <a:latin typeface="Calibri" panose="020F0502020204030204" pitchFamily="34" charset="0"/>
                <a:cs typeface="Calibri" panose="020F0502020204030204" pitchFamily="34" charset="0"/>
              </a:rPr>
              <a:t>Tous les agents de l’académie de Versailles </a:t>
            </a:r>
          </a:p>
        </p:txBody>
      </p:sp>
    </p:spTree>
    <p:extLst>
      <p:ext uri="{BB962C8B-B14F-4D97-AF65-F5344CB8AC3E}">
        <p14:creationId xmlns:p14="http://schemas.microsoft.com/office/powerpoint/2010/main" val="41671145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8CEFF1D8-0A9F-492D-8CCC-D82DDE055169}"/>
              </a:ext>
            </a:extLst>
          </p:cNvPr>
          <p:cNvCxnSpPr>
            <a:cxnSpLocks/>
            <a:stCxn id="44" idx="2"/>
            <a:endCxn id="31" idx="0"/>
          </p:cNvCxnSpPr>
          <p:nvPr/>
        </p:nvCxnSpPr>
        <p:spPr>
          <a:xfrm>
            <a:off x="3149358" y="2378835"/>
            <a:ext cx="0" cy="174117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AC7E41A0-10F5-44A7-A154-5BB2F56A0717}"/>
              </a:ext>
            </a:extLst>
          </p:cNvPr>
          <p:cNvCxnSpPr>
            <a:stCxn id="19" idx="2"/>
            <a:endCxn id="51" idx="0"/>
          </p:cNvCxnSpPr>
          <p:nvPr/>
        </p:nvCxnSpPr>
        <p:spPr>
          <a:xfrm>
            <a:off x="1225058" y="2378835"/>
            <a:ext cx="0" cy="1741172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itre 6">
            <a:extLst>
              <a:ext uri="{FF2B5EF4-FFF2-40B4-BE49-F238E27FC236}">
                <a16:creationId xmlns:a16="http://schemas.microsoft.com/office/drawing/2014/main" id="{EF012AB3-AC73-4331-B3B1-1EC999F3A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6162" y="95418"/>
            <a:ext cx="7631200" cy="478548"/>
          </a:xfrm>
        </p:spPr>
        <p:txBody>
          <a:bodyPr/>
          <a:lstStyle/>
          <a:p>
            <a:r>
              <a:rPr lang="fr-FR" sz="1800"/>
              <a:t>Macro description du processus</a:t>
            </a:r>
            <a:br>
              <a:rPr lang="fr-FR" sz="1800"/>
            </a:br>
            <a:r>
              <a:rPr lang="fr-FR" sz="1350" b="0" i="1">
                <a:solidFill>
                  <a:schemeClr val="accent4"/>
                </a:solidFill>
              </a:rPr>
              <a:t> Indus constatés sur rémunération</a:t>
            </a:r>
          </a:p>
        </p:txBody>
      </p:sp>
      <p:sp>
        <p:nvSpPr>
          <p:cNvPr id="107" name="Espace réservé du numéro de diapositive 4">
            <a:extLst>
              <a:ext uri="{FF2B5EF4-FFF2-40B4-BE49-F238E27FC236}">
                <a16:creationId xmlns:a16="http://schemas.microsoft.com/office/drawing/2014/main" id="{3B4C0C11-F10E-44B2-84A6-4FF34FAE22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64003" y="4783500"/>
            <a:ext cx="1350000" cy="360000"/>
          </a:xfr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4</a:t>
            </a:fld>
            <a:endParaRPr lang="fr-FR">
              <a:solidFill>
                <a:srgbClr val="000000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9A4F1DF-FB40-4FE9-9B26-27FFF8063A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8335652"/>
              </p:ext>
            </p:extLst>
          </p:nvPr>
        </p:nvGraphicFramePr>
        <p:xfrm>
          <a:off x="164388" y="863076"/>
          <a:ext cx="8800100" cy="62788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0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9203">
                <a:tc>
                  <a:txBody>
                    <a:bodyPr/>
                    <a:lstStyle/>
                    <a:p>
                      <a:pPr marL="0" marR="0" lvl="0" indent="0" algn="ctr" defTabSz="9140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>
                          <a:solidFill>
                            <a:schemeClr val="bg1"/>
                          </a:solidFill>
                          <a:latin typeface="Calibri" panose="020F0502020204030204" pitchFamily="34" charset="0"/>
                        </a:rPr>
                        <a:t>Courte description du processus 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6903">
                <a:tc>
                  <a:txBody>
                    <a:bodyPr/>
                    <a:lstStyle/>
                    <a:p>
                      <a:pPr marL="0" marR="0" indent="0" algn="l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Préparer puis déposer le fichier PKO et le courrier dans un répertoire partagé avec la DAF afin de traiter les indus constatés sur rémunération</a:t>
                      </a:r>
                    </a:p>
                  </a:txBody>
                  <a:tcPr marL="47231" marR="47231" marT="23616" marB="236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Rectangle 24">
            <a:extLst>
              <a:ext uri="{FF2B5EF4-FFF2-40B4-BE49-F238E27FC236}">
                <a16:creationId xmlns:a16="http://schemas.microsoft.com/office/drawing/2014/main" id="{7260E69B-06C2-4516-B9BD-6C4B7E38A5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673" y="1655176"/>
            <a:ext cx="3978878" cy="176702"/>
          </a:xfrm>
          <a:prstGeom prst="rect">
            <a:avLst/>
          </a:prstGeom>
          <a:solidFill>
            <a:schemeClr val="accent2"/>
          </a:solidFill>
          <a:ln w="6350" algn="ctr">
            <a:solidFill>
              <a:schemeClr val="tx1"/>
            </a:solidFill>
            <a:miter lim="800000"/>
            <a:headEnd/>
            <a:tailEnd/>
          </a:ln>
        </p:spPr>
        <p:txBody>
          <a:bodyPr lIns="47173" tIns="23586" rIns="47173" bIns="23586" anchor="ctr" anchorCtr="0"/>
          <a:lstStyle/>
          <a:p>
            <a:pPr algn="ctr" defTabSz="472253" eaLnBrk="0" hangingPunct="0">
              <a:spcBef>
                <a:spcPct val="50000"/>
              </a:spcBef>
            </a:pPr>
            <a:r>
              <a:rPr lang="fr-FR" altLang="en-US" sz="1000" b="1">
                <a:solidFill>
                  <a:schemeClr val="bg1"/>
                </a:solidFill>
                <a:latin typeface="Calibri" panose="020F0502020204030204" pitchFamily="34" charset="0"/>
              </a:rPr>
              <a:t>Déroulé du processu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7E721ED-07AC-471D-89FD-EB875E084295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55673" y="1842599"/>
            <a:ext cx="3978877" cy="3152027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 defTabSz="495816" eaLnBrk="0" hangingPunct="0">
              <a:spcBef>
                <a:spcPct val="50000"/>
              </a:spcBef>
              <a:defRPr/>
            </a:pPr>
            <a:endParaRPr lang="fr-FR" sz="750" kern="0">
              <a:solidFill>
                <a:prstClr val="black"/>
              </a:solidFill>
              <a:latin typeface="Frutiger 45 Light" panose="020B0603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ECE2CC1-8E28-4217-B81F-47CAA2A01ED5}"/>
              </a:ext>
            </a:extLst>
          </p:cNvPr>
          <p:cNvSpPr/>
          <p:nvPr/>
        </p:nvSpPr>
        <p:spPr>
          <a:xfrm>
            <a:off x="343058" y="1896346"/>
            <a:ext cx="1764000" cy="482489"/>
          </a:xfrm>
          <a:prstGeom prst="rect">
            <a:avLst/>
          </a:prstGeom>
          <a:solidFill>
            <a:srgbClr val="C6C6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1. Récupérer les informations d’un PDF dans un fichier Excel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0288925-6120-4629-B3B7-59F3D4475E91}"/>
              </a:ext>
            </a:extLst>
          </p:cNvPr>
          <p:cNvSpPr/>
          <p:nvPr/>
        </p:nvSpPr>
        <p:spPr>
          <a:xfrm>
            <a:off x="855971" y="4821135"/>
            <a:ext cx="1251087" cy="10698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400">
                <a:solidFill>
                  <a:schemeClr val="tx1"/>
                </a:solidFill>
                <a:latin typeface="Calibri" panose="020F0502020204030204" pitchFamily="34" charset="0"/>
              </a:rPr>
              <a:t>Tâches à automatiser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5A641AA-AB3F-48D2-86EC-37B15283E183}"/>
              </a:ext>
            </a:extLst>
          </p:cNvPr>
          <p:cNvSpPr/>
          <p:nvPr/>
        </p:nvSpPr>
        <p:spPr>
          <a:xfrm>
            <a:off x="2278878" y="4821135"/>
            <a:ext cx="1251087" cy="10698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400">
                <a:solidFill>
                  <a:schemeClr val="tx1"/>
                </a:solidFill>
                <a:latin typeface="Calibri" panose="020F0502020204030204" pitchFamily="34" charset="0"/>
              </a:rPr>
              <a:t>Tâches manuelles ou en dehors du processus cible</a:t>
            </a:r>
          </a:p>
        </p:txBody>
      </p:sp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1FB07364-3559-428F-A319-2A8665F487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4320178"/>
              </p:ext>
            </p:extLst>
          </p:nvPr>
        </p:nvGraphicFramePr>
        <p:xfrm>
          <a:off x="4339380" y="1655176"/>
          <a:ext cx="2331464" cy="274918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7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037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solidFill>
                            <a:schemeClr val="bg1"/>
                          </a:solidFill>
                          <a:latin typeface="Calibri" panose="020F0502020204030204" pitchFamily="34" charset="0"/>
                        </a:rPr>
                        <a:t>Tâches à automatiser</a:t>
                      </a:r>
                    </a:p>
                  </a:txBody>
                  <a:tcPr marL="51955" marR="51955" marT="25978" marB="2597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b="1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6919">
                <a:tc>
                  <a:txBody>
                    <a:bodyPr/>
                    <a:lstStyle/>
                    <a:p>
                      <a:pPr marL="0" marR="0" indent="0" algn="ctr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955" marR="51955" marT="25978" marB="2597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Récupérer les informations d’un PDF dans un fichier Excel – </a:t>
                      </a:r>
                      <a:r>
                        <a:rPr lang="fr-FR" sz="800" 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OCR à vérifier</a:t>
                      </a:r>
                      <a:endParaRPr lang="fr-FR" sz="800" i="1" kern="1200" baseline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231" marR="47231" marT="23616" marB="236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6919">
                <a:tc>
                  <a:txBody>
                    <a:bodyPr/>
                    <a:lstStyle/>
                    <a:p>
                      <a:pPr marL="0" marR="0" indent="0" algn="ctr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955" marR="51955" marT="25978" marB="2597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Alimenter le tableau de bord du service (Excel)</a:t>
                      </a:r>
                    </a:p>
                  </a:txBody>
                  <a:tcPr marL="47231" marR="47231" marT="23616" marB="236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3342">
                <a:tc>
                  <a:txBody>
                    <a:bodyPr/>
                    <a:lstStyle/>
                    <a:p>
                      <a:pPr marL="0" marR="0" indent="0" algn="ctr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kern="1200" baseline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51955" marR="51955" marT="25978" marB="2597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Croiser des informations de l’agents (adresses, date de naissance) dans EPP</a:t>
                      </a:r>
                    </a:p>
                  </a:txBody>
                  <a:tcPr marL="47231" marR="47231" marT="23616" marB="236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6919">
                <a:tc>
                  <a:txBody>
                    <a:bodyPr/>
                    <a:lstStyle/>
                    <a:p>
                      <a:pPr marL="0" marR="0" indent="0" algn="ctr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kern="1200" baseline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51955" marR="51955" marT="25978" marB="2597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Retranscrire les informations dans un courrier et le PDF original (PKO)</a:t>
                      </a:r>
                    </a:p>
                  </a:txBody>
                  <a:tcPr marL="47231" marR="47231" marT="23616" marB="236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6919">
                <a:tc>
                  <a:txBody>
                    <a:bodyPr/>
                    <a:lstStyle/>
                    <a:p>
                      <a:pPr marL="0" marR="0" indent="0" algn="ctr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kern="1200" baseline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51955" marR="51955" marT="25978" marB="2597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Après validation du chef de service, signature automatique du PKO et du courrier</a:t>
                      </a:r>
                    </a:p>
                  </a:txBody>
                  <a:tcPr marL="47231" marR="47231" marT="23616" marB="236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3342">
                <a:tc>
                  <a:txBody>
                    <a:bodyPr/>
                    <a:lstStyle/>
                    <a:p>
                      <a:pPr marL="0" marR="0" indent="0" algn="ctr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kern="1200" baseline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51955" marR="51955" marT="25978" marB="2597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Renommer le fichier PDF (nom, prénom, programme, numéro du PKO) et le courrier</a:t>
                      </a:r>
                    </a:p>
                  </a:txBody>
                  <a:tcPr marL="47231" marR="47231" marT="23616" marB="236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62369193"/>
                  </a:ext>
                </a:extLst>
              </a:tr>
              <a:tr h="183342">
                <a:tc>
                  <a:txBody>
                    <a:bodyPr/>
                    <a:lstStyle/>
                    <a:p>
                      <a:pPr marL="0" marR="0" indent="0" algn="ctr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kern="1200" baseline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51955" marR="51955" marT="25978" marB="2597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Déposer les fichiers et courriers par programme dans un répertoire partagé avec la DAF</a:t>
                      </a:r>
                    </a:p>
                  </a:txBody>
                  <a:tcPr marL="47231" marR="47231" marT="23616" marB="236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88718400"/>
                  </a:ext>
                </a:extLst>
              </a:tr>
              <a:tr h="183342">
                <a:tc>
                  <a:txBody>
                    <a:bodyPr/>
                    <a:lstStyle/>
                    <a:p>
                      <a:pPr marL="0" marR="0" indent="0" algn="ctr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kern="1200" baseline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51955" marR="51955" marT="25978" marB="2597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Indiquer la date de dépôt des fichiers dans le tableau de bord (fichier Excel)</a:t>
                      </a:r>
                    </a:p>
                  </a:txBody>
                  <a:tcPr marL="47231" marR="47231" marT="23616" marB="236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58065070"/>
                  </a:ext>
                </a:extLst>
              </a:tr>
              <a:tr h="183342">
                <a:tc>
                  <a:txBody>
                    <a:bodyPr/>
                    <a:lstStyle/>
                    <a:p>
                      <a:pPr marL="0" marR="0" indent="0" algn="ctr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kern="1200" baseline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51955" marR="51955" marT="25978" marB="2597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55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Notifier à la DAF par mail du dépôt des fichiers</a:t>
                      </a:r>
                    </a:p>
                  </a:txBody>
                  <a:tcPr marL="47231" marR="47231" marT="23616" marB="236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35240471"/>
                  </a:ext>
                </a:extLst>
              </a:tr>
            </a:tbl>
          </a:graphicData>
        </a:graphic>
      </p:graphicFrame>
      <p:graphicFrame>
        <p:nvGraphicFramePr>
          <p:cNvPr id="56" name="Table 55">
            <a:extLst>
              <a:ext uri="{FF2B5EF4-FFF2-40B4-BE49-F238E27FC236}">
                <a16:creationId xmlns:a16="http://schemas.microsoft.com/office/drawing/2014/main" id="{CB84EACF-09A8-42E2-B238-74335B861C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2123123"/>
              </p:ext>
            </p:extLst>
          </p:nvPr>
        </p:nvGraphicFramePr>
        <p:xfrm>
          <a:off x="6855704" y="1655175"/>
          <a:ext cx="2108784" cy="3033919"/>
        </p:xfrm>
        <a:graphic>
          <a:graphicData uri="http://schemas.openxmlformats.org/drawingml/2006/table">
            <a:tbl>
              <a:tblPr firstRow="1" bandRow="1"/>
              <a:tblGrid>
                <a:gridCol w="9325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762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966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MS PGothic"/>
                          <a:cs typeface="+mn-cs"/>
                        </a:rPr>
                        <a:t>Volumétrie</a:t>
                      </a:r>
                    </a:p>
                  </a:txBody>
                  <a:tcPr marL="25978" marR="25978" marT="25978" marB="2597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3713">
                <a:tc>
                  <a:txBody>
                    <a:bodyPr/>
                    <a:lstStyle/>
                    <a:p>
                      <a:pPr marL="0" marR="0" indent="0" algn="ctr" defTabSz="100550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mbre de personnes travaillant sur ce processus</a:t>
                      </a:r>
                    </a:p>
                  </a:txBody>
                  <a:tcPr marL="40910" marR="40910" marT="20455" marB="2045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0 à la DPE</a:t>
                      </a: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1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b gestionnaires RH AC Versailles TBD Mme Lesire</a:t>
                      </a:r>
                    </a:p>
                  </a:txBody>
                  <a:tcPr marL="40910" marR="40910" marT="20455" marB="2045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93713">
                <a:tc>
                  <a:txBody>
                    <a:bodyPr/>
                    <a:lstStyle/>
                    <a:p>
                      <a:pPr marL="0" marR="0" indent="0" algn="ctr" defTabSz="100550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olume </a:t>
                      </a:r>
                    </a:p>
                  </a:txBody>
                  <a:tcPr marL="40910" marR="40910" marT="20455" marB="2045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1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1000/an DPE pour 2,4M€)</a:t>
                      </a: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i="1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68</a:t>
                      </a:r>
                      <a:r>
                        <a:rPr lang="fr-FR" sz="800" b="0" i="1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sur 2021 sur toute l’AC + 837 titres en attente</a:t>
                      </a:r>
                    </a:p>
                  </a:txBody>
                  <a:tcPr marL="40910" marR="40910" marT="20455" marB="2045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9094273"/>
                  </a:ext>
                </a:extLst>
              </a:tr>
              <a:tr h="778904">
                <a:tc>
                  <a:txBody>
                    <a:bodyPr/>
                    <a:lstStyle/>
                    <a:p>
                      <a:pPr marL="0" marR="0" indent="0" algn="ctr" defTabSz="100550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réquence</a:t>
                      </a:r>
                    </a:p>
                  </a:txBody>
                  <a:tcPr marL="40910" marR="40910" marT="20455" marB="2045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ensuel</a:t>
                      </a:r>
                    </a:p>
                  </a:txBody>
                  <a:tcPr marL="40910" marR="40910" marT="20455" marB="2045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84465"/>
                  </a:ext>
                </a:extLst>
              </a:tr>
              <a:tr h="693713">
                <a:tc>
                  <a:txBody>
                    <a:bodyPr/>
                    <a:lstStyle/>
                    <a:p>
                      <a:pPr marL="0" marR="0" indent="0" algn="ctr" defTabSz="100550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rée</a:t>
                      </a:r>
                    </a:p>
                  </a:txBody>
                  <a:tcPr marL="40910" marR="40910" marT="20455" marB="2045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1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+2+ 10+ 10 + 2 + 1 + 4</a:t>
                      </a: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0" i="1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 min/PKO (sans le temps d’analyse hors robot)</a:t>
                      </a:r>
                    </a:p>
                  </a:txBody>
                  <a:tcPr marL="40910" marR="40910" marT="20455" marB="2045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4190204"/>
                  </a:ext>
                </a:extLst>
              </a:tr>
            </a:tbl>
          </a:graphicData>
        </a:graphic>
      </p:graphicFrame>
      <p:sp>
        <p:nvSpPr>
          <p:cNvPr id="42" name="Rectangle 41">
            <a:extLst>
              <a:ext uri="{FF2B5EF4-FFF2-40B4-BE49-F238E27FC236}">
                <a16:creationId xmlns:a16="http://schemas.microsoft.com/office/drawing/2014/main" id="{D993ABD2-372E-43A3-AE97-D1FA1E03B19B}"/>
              </a:ext>
            </a:extLst>
          </p:cNvPr>
          <p:cNvSpPr/>
          <p:nvPr/>
        </p:nvSpPr>
        <p:spPr>
          <a:xfrm>
            <a:off x="343058" y="2452261"/>
            <a:ext cx="1764000" cy="482489"/>
          </a:xfrm>
          <a:prstGeom prst="rect">
            <a:avLst/>
          </a:prstGeom>
          <a:solidFill>
            <a:srgbClr val="C6C6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2. Alimenter le tableau de bord de la division (suivi global) + Alimenter le tableau de bord de chaque service (Excel) (suivi + fi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6D996CD-531E-46D7-8386-F5A3568D3523}"/>
              </a:ext>
            </a:extLst>
          </p:cNvPr>
          <p:cNvSpPr/>
          <p:nvPr/>
        </p:nvSpPr>
        <p:spPr>
          <a:xfrm>
            <a:off x="343058" y="3727877"/>
            <a:ext cx="1764000" cy="318703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4. Gestionnaire indique le motif et la période du PKO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81CDD5A-95E6-4043-9790-69BF7F8DCBAB}"/>
              </a:ext>
            </a:extLst>
          </p:cNvPr>
          <p:cNvSpPr/>
          <p:nvPr/>
        </p:nvSpPr>
        <p:spPr>
          <a:xfrm>
            <a:off x="343058" y="4120007"/>
            <a:ext cx="1764000" cy="482489"/>
          </a:xfrm>
          <a:prstGeom prst="rect">
            <a:avLst/>
          </a:prstGeom>
          <a:solidFill>
            <a:srgbClr val="C6C6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5. Retranscrire les informations dans un courrier et le PDF original (</a:t>
            </a:r>
            <a:r>
              <a:rPr lang="fr-FR" sz="700" err="1">
                <a:solidFill>
                  <a:schemeClr val="tx1"/>
                </a:solidFill>
                <a:latin typeface="Calibri" panose="020F0502020204030204" pitchFamily="34" charset="0"/>
              </a:rPr>
              <a:t>PKO</a:t>
            </a:r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)- </a:t>
            </a:r>
            <a:r>
              <a:rPr lang="fr-FR" sz="700" i="1" err="1">
                <a:solidFill>
                  <a:schemeClr val="tx1"/>
                </a:solidFill>
                <a:latin typeface="Calibri" panose="020F0502020204030204" pitchFamily="34" charset="0"/>
              </a:rPr>
              <a:t>possibilite</a:t>
            </a:r>
            <a:r>
              <a:rPr lang="fr-FR" sz="700" i="1">
                <a:solidFill>
                  <a:schemeClr val="tx1"/>
                </a:solidFill>
                <a:latin typeface="Calibri" panose="020F0502020204030204" pitchFamily="34" charset="0"/>
              </a:rPr>
              <a:t> de faire 2 courriers différents si information d’un précompte indiquée sur le </a:t>
            </a:r>
            <a:r>
              <a:rPr lang="fr-FR" sz="700" i="1" err="1">
                <a:solidFill>
                  <a:schemeClr val="tx1"/>
                </a:solidFill>
                <a:latin typeface="Calibri" panose="020F0502020204030204" pitchFamily="34" charset="0"/>
              </a:rPr>
              <a:t>PKO</a:t>
            </a:r>
            <a:endParaRPr lang="fr-FR" sz="700" i="1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A9E41CE-9E00-492B-B1F2-28931CE995B6}"/>
              </a:ext>
            </a:extLst>
          </p:cNvPr>
          <p:cNvSpPr/>
          <p:nvPr/>
        </p:nvSpPr>
        <p:spPr>
          <a:xfrm>
            <a:off x="343058" y="3008176"/>
            <a:ext cx="1764000" cy="646274"/>
          </a:xfrm>
          <a:prstGeom prst="rect">
            <a:avLst/>
          </a:prstGeom>
          <a:solidFill>
            <a:srgbClr val="C6C6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3. Sur le tableau de bord de chaque service: Croiser des informations de l’agents (adresses, date de naissance) dans EPP et alimenter les info complémentaires (disciplines….)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EA19357-67FC-4E97-8053-7C7FC8978813}"/>
              </a:ext>
            </a:extLst>
          </p:cNvPr>
          <p:cNvSpPr/>
          <p:nvPr/>
        </p:nvSpPr>
        <p:spPr>
          <a:xfrm>
            <a:off x="2267358" y="1896346"/>
            <a:ext cx="1764000" cy="482489"/>
          </a:xfrm>
          <a:prstGeom prst="rect">
            <a:avLst/>
          </a:prstGeom>
          <a:solidFill>
            <a:srgbClr val="C6C6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l" defTabSz="10055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6. Validation du PKO et courrier par le chef de service, qui déclenche la signature automatique du PKO et du courrier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6FC7663-28FD-4E8A-9C49-33952217F612}"/>
              </a:ext>
            </a:extLst>
          </p:cNvPr>
          <p:cNvSpPr/>
          <p:nvPr/>
        </p:nvSpPr>
        <p:spPr>
          <a:xfrm>
            <a:off x="2267358" y="2452261"/>
            <a:ext cx="1764000" cy="4824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7. Renommer le fichier PDF (programme, nom, prénom, numéro du </a:t>
            </a:r>
            <a:r>
              <a:rPr lang="fr-FR" sz="700" err="1">
                <a:solidFill>
                  <a:schemeClr val="tx1"/>
                </a:solidFill>
                <a:latin typeface="Calibri" panose="020F0502020204030204" pitchFamily="34" charset="0"/>
              </a:rPr>
              <a:t>PKO</a:t>
            </a:r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 ) et le courrier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54A4324-8201-45A9-AAD5-251B9800A4D2}"/>
              </a:ext>
            </a:extLst>
          </p:cNvPr>
          <p:cNvSpPr/>
          <p:nvPr/>
        </p:nvSpPr>
        <p:spPr>
          <a:xfrm>
            <a:off x="2267358" y="3008176"/>
            <a:ext cx="1764000" cy="4824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8. Déposer les fichiers et courriers par programme dans un répertoire partagé avec la DAF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9C5958C-488F-4DC6-8EBC-C8EBBDD03EC0}"/>
              </a:ext>
            </a:extLst>
          </p:cNvPr>
          <p:cNvSpPr/>
          <p:nvPr/>
        </p:nvSpPr>
        <p:spPr>
          <a:xfrm>
            <a:off x="2267358" y="3564091"/>
            <a:ext cx="1764000" cy="4824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9. Indiquer la date de dépôt des fichiers dans le tableau de bord de chaque DPE (fichier Excel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B642369-5849-40A5-AB89-FC4271B888C9}"/>
              </a:ext>
            </a:extLst>
          </p:cNvPr>
          <p:cNvSpPr/>
          <p:nvPr/>
        </p:nvSpPr>
        <p:spPr>
          <a:xfrm>
            <a:off x="2267358" y="4120006"/>
            <a:ext cx="1764000" cy="4824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10. Notifier à la DAF par mail du dépôt des fichiers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49B98D7B-A5D6-4643-A154-BCF4195C29FC}"/>
              </a:ext>
            </a:extLst>
          </p:cNvPr>
          <p:cNvCxnSpPr>
            <a:cxnSpLocks/>
            <a:stCxn id="51" idx="3"/>
            <a:endCxn id="44" idx="1"/>
          </p:cNvCxnSpPr>
          <p:nvPr/>
        </p:nvCxnSpPr>
        <p:spPr>
          <a:xfrm flipV="1">
            <a:off x="2107058" y="2137591"/>
            <a:ext cx="160300" cy="2223661"/>
          </a:xfrm>
          <a:prstGeom prst="bentConnector3">
            <a:avLst>
              <a:gd name="adj1" fmla="val 50000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97534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itre 6">
            <a:extLst>
              <a:ext uri="{FF2B5EF4-FFF2-40B4-BE49-F238E27FC236}">
                <a16:creationId xmlns:a16="http://schemas.microsoft.com/office/drawing/2014/main" id="{EF012AB3-AC73-4331-B3B1-1EC999F3A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6162" y="95418"/>
            <a:ext cx="7631200" cy="478548"/>
          </a:xfrm>
        </p:spPr>
        <p:txBody>
          <a:bodyPr/>
          <a:lstStyle/>
          <a:p>
            <a:r>
              <a:rPr lang="fr-FR" sz="1800"/>
              <a:t>Evaluation de la complexité métier</a:t>
            </a:r>
            <a:br>
              <a:rPr lang="fr-FR" sz="1800"/>
            </a:br>
            <a:r>
              <a:rPr lang="fr-FR" sz="1350" b="0" i="1">
                <a:solidFill>
                  <a:schemeClr val="accent4"/>
                </a:solidFill>
              </a:rPr>
              <a:t> Indus constatés sur rémunération</a:t>
            </a:r>
            <a:br>
              <a:rPr lang="fr-FR" sz="1350" b="0" i="1">
                <a:solidFill>
                  <a:schemeClr val="accent4"/>
                </a:solidFill>
              </a:rPr>
            </a:br>
            <a:endParaRPr lang="fr-FR" sz="1350" b="0" i="1">
              <a:solidFill>
                <a:schemeClr val="accent4"/>
              </a:solidFill>
            </a:endParaRPr>
          </a:p>
        </p:txBody>
      </p:sp>
      <p:sp>
        <p:nvSpPr>
          <p:cNvPr id="107" name="Espace réservé du numéro de diapositive 4">
            <a:extLst>
              <a:ext uri="{FF2B5EF4-FFF2-40B4-BE49-F238E27FC236}">
                <a16:creationId xmlns:a16="http://schemas.microsoft.com/office/drawing/2014/main" id="{3B4C0C11-F10E-44B2-84A6-4FF34FAE22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64003" y="4783500"/>
            <a:ext cx="1350000" cy="360000"/>
          </a:xfr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5</a:t>
            </a:fld>
            <a:endParaRPr lang="fr-FR">
              <a:solidFill>
                <a:srgbClr val="000000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3E75ACF-E12E-4ADD-813C-68EA19C3A7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9725678"/>
              </p:ext>
            </p:extLst>
          </p:nvPr>
        </p:nvGraphicFramePr>
        <p:xfrm>
          <a:off x="183067" y="1127779"/>
          <a:ext cx="8796653" cy="1031669"/>
        </p:xfrm>
        <a:graphic>
          <a:graphicData uri="http://schemas.openxmlformats.org/drawingml/2006/table">
            <a:tbl>
              <a:tblPr firstRow="1" bandRow="1"/>
              <a:tblGrid>
                <a:gridCol w="29524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22119">
                  <a:extLst>
                    <a:ext uri="{9D8B030D-6E8A-4147-A177-3AD203B41FA5}">
                      <a16:colId xmlns:a16="http://schemas.microsoft.com/office/drawing/2014/main" val="414941160"/>
                    </a:ext>
                  </a:extLst>
                </a:gridCol>
                <a:gridCol w="2922119">
                  <a:extLst>
                    <a:ext uri="{9D8B030D-6E8A-4147-A177-3AD203B41FA5}">
                      <a16:colId xmlns:a16="http://schemas.microsoft.com/office/drawing/2014/main" val="1161373627"/>
                    </a:ext>
                  </a:extLst>
                </a:gridCol>
              </a:tblGrid>
              <a:tr h="167519"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fr-FR" sz="1000" b="1" kern="1200" cap="small" baseline="0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Stabilité du processus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kern="1200" noProof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MS PGothic"/>
                        <a:cs typeface="Calibri" panose="020F0502020204030204" pitchFamily="34" charset="0"/>
                      </a:endParaRP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2719">
                <a:tc>
                  <a:txBody>
                    <a:bodyPr/>
                    <a:lstStyle/>
                    <a:p>
                      <a:pPr algn="ctr"/>
                      <a:r>
                        <a:rPr lang="fr-FR" sz="800" b="0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Standardisé ?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800" b="0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Des modifications du processus sont-elles nécessaires ?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800" b="0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Quelle est la périodicité du processus ?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4204">
                <a:tc>
                  <a:txBody>
                    <a:bodyPr/>
                    <a:lstStyle/>
                    <a:p>
                      <a:pPr algn="ctr"/>
                      <a:r>
                        <a:rPr lang="fr-FR" sz="800" b="0" i="1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Oui à l’échelle de l’AC Versailles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0" i="1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0" i="1" kern="1200" noProof="0">
                          <a:solidFill>
                            <a:srgbClr val="0070C0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nsuel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2D83F86-6A38-4086-BB77-2390AF9C2D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1231050"/>
              </p:ext>
            </p:extLst>
          </p:nvPr>
        </p:nvGraphicFramePr>
        <p:xfrm>
          <a:off x="183067" y="2425919"/>
          <a:ext cx="8796653" cy="823365"/>
        </p:xfrm>
        <a:graphic>
          <a:graphicData uri="http://schemas.openxmlformats.org/drawingml/2006/table">
            <a:tbl>
              <a:tblPr firstRow="1" bandRow="1"/>
              <a:tblGrid>
                <a:gridCol w="44210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75643">
                  <a:extLst>
                    <a:ext uri="{9D8B030D-6E8A-4147-A177-3AD203B41FA5}">
                      <a16:colId xmlns:a16="http://schemas.microsoft.com/office/drawing/2014/main" val="414941160"/>
                    </a:ext>
                  </a:extLst>
                </a:gridCol>
              </a:tblGrid>
              <a:tr h="14141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fr-FR" sz="800" b="1" kern="1200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Criticité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974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fr-FR" sz="800" b="0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S’agit-il d’un processus critique pour le Rectorat ? 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53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fr-FR" sz="800" b="0" noProof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Quel est le niveau de confidentialité des données ? 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4125">
                <a:tc>
                  <a:txBody>
                    <a:bodyPr/>
                    <a:lstStyle/>
                    <a:p>
                      <a:pPr algn="ctr"/>
                      <a:r>
                        <a:rPr lang="fr-FR" sz="800" b="0" i="1" noProof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n critique (sécurité en interne), mais forts enjeux  financiers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0" i="1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nnées personnelles (nom, prénom, numéro INSEE, adresse etc.)</a:t>
                      </a:r>
                    </a:p>
                  </a:txBody>
                  <a:tcPr marL="31173" marR="31173" marT="31173" marB="3117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89345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itre 6">
            <a:extLst>
              <a:ext uri="{FF2B5EF4-FFF2-40B4-BE49-F238E27FC236}">
                <a16:creationId xmlns:a16="http://schemas.microsoft.com/office/drawing/2014/main" id="{EF012AB3-AC73-4331-B3B1-1EC999F3A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6162" y="95418"/>
            <a:ext cx="7631200" cy="478548"/>
          </a:xfrm>
        </p:spPr>
        <p:txBody>
          <a:bodyPr/>
          <a:lstStyle/>
          <a:p>
            <a:r>
              <a:rPr lang="fr-FR" sz="1800"/>
              <a:t>Estimation de la valeur métier</a:t>
            </a:r>
            <a:br>
              <a:rPr lang="fr-FR" sz="1800"/>
            </a:br>
            <a:r>
              <a:rPr lang="fr-FR" sz="1350" b="0" i="1">
                <a:solidFill>
                  <a:schemeClr val="accent4"/>
                </a:solidFill>
              </a:rPr>
              <a:t>Indus constatés sur rémunération</a:t>
            </a:r>
            <a:br>
              <a:rPr lang="fr-FR" sz="1350" b="0" i="1">
                <a:solidFill>
                  <a:schemeClr val="accent4"/>
                </a:solidFill>
              </a:rPr>
            </a:br>
            <a:endParaRPr lang="fr-FR" sz="1350" b="0" i="1">
              <a:solidFill>
                <a:schemeClr val="accent4"/>
              </a:solidFill>
            </a:endParaRPr>
          </a:p>
        </p:txBody>
      </p:sp>
      <p:sp>
        <p:nvSpPr>
          <p:cNvPr id="107" name="Espace réservé du numéro de diapositive 4">
            <a:extLst>
              <a:ext uri="{FF2B5EF4-FFF2-40B4-BE49-F238E27FC236}">
                <a16:creationId xmlns:a16="http://schemas.microsoft.com/office/drawing/2014/main" id="{3B4C0C11-F10E-44B2-84A6-4FF34FAE22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64003" y="4783500"/>
            <a:ext cx="1350000" cy="360000"/>
          </a:xfr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6</a:t>
            </a:fld>
            <a:endParaRPr lang="fr-FR">
              <a:solidFill>
                <a:srgbClr val="000000"/>
              </a:solidFill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2E1429E-265A-45FC-BE59-FE6462FAB7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614837"/>
              </p:ext>
            </p:extLst>
          </p:nvPr>
        </p:nvGraphicFramePr>
        <p:xfrm>
          <a:off x="159248" y="2112208"/>
          <a:ext cx="8746571" cy="1188800"/>
        </p:xfrm>
        <a:graphic>
          <a:graphicData uri="http://schemas.openxmlformats.org/drawingml/2006/table">
            <a:tbl>
              <a:tblPr firstRow="1" bandRow="1"/>
              <a:tblGrid>
                <a:gridCol w="10134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86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13148">
                  <a:extLst>
                    <a:ext uri="{9D8B030D-6E8A-4147-A177-3AD203B41FA5}">
                      <a16:colId xmlns:a16="http://schemas.microsoft.com/office/drawing/2014/main" val="2321634471"/>
                    </a:ext>
                  </a:extLst>
                </a:gridCol>
                <a:gridCol w="3091352">
                  <a:extLst>
                    <a:ext uri="{9D8B030D-6E8A-4147-A177-3AD203B41FA5}">
                      <a16:colId xmlns:a16="http://schemas.microsoft.com/office/drawing/2014/main" val="2792445495"/>
                    </a:ext>
                  </a:extLst>
                </a:gridCol>
              </a:tblGrid>
              <a:tr h="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utiger 45 Light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fr-FR" sz="900" b="1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Bénéfice</a:t>
                      </a:r>
                    </a:p>
                  </a:txBody>
                  <a:tcPr marL="20455" marR="20455" marT="20455" marB="2045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1">
                          <a:solidFill>
                            <a:srgbClr val="FFFFF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stimation du bénéfice</a:t>
                      </a:r>
                    </a:p>
                  </a:txBody>
                  <a:tcPr marL="20455" marR="20455" marT="20455" marB="2045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1">
                          <a:solidFill>
                            <a:srgbClr val="FFFFF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entaire</a:t>
                      </a:r>
                    </a:p>
                  </a:txBody>
                  <a:tcPr marL="20455" marR="20455" marT="20455" marB="2045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860"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fr-FR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8595" marR="18595" marT="18595" marB="1859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minution de la Charge</a:t>
                      </a:r>
                    </a:p>
                  </a:txBody>
                  <a:tcPr marL="81000" marR="81000" marT="18595" marB="1859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9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,28 ETP </a:t>
                      </a:r>
                      <a:r>
                        <a:rPr kumimoji="0" lang="fr-FR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ur l’académie de Versailles</a:t>
                      </a:r>
                    </a:p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récupération des sommes versées en trop (2,4 M€ pour la DPE)</a:t>
                      </a:r>
                      <a:endParaRPr kumimoji="0" lang="fr-FR" sz="9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81000" marR="81000" marT="18595" marB="185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705 titres x 32 min / 1540 h = 1,28 ETP</a:t>
                      </a:r>
                    </a:p>
                  </a:txBody>
                  <a:tcPr marL="81000" marR="81000" marT="18595" marB="185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860"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fr-FR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8595" marR="18595" marT="18595" marB="1859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mélioration de la Qualité</a:t>
                      </a:r>
                    </a:p>
                  </a:txBody>
                  <a:tcPr marL="81000" marR="81000" marT="18595" marB="1859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lité du processus (formater)</a:t>
                      </a:r>
                    </a:p>
                    <a:p>
                      <a:pPr marL="171450" marR="0" lvl="0" indent="-17145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limentation des outils de pilotage</a:t>
                      </a:r>
                    </a:p>
                  </a:txBody>
                  <a:tcPr marL="81000" marR="81000" marT="18595" marB="185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fr-FR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81000" marR="81000" marT="18595" marB="185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4860"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kumimoji="0" lang="fr-FR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8595" marR="18595" marT="18595" marB="1859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éduction du Délai</a:t>
                      </a:r>
                    </a:p>
                  </a:txBody>
                  <a:tcPr marL="81000" marR="81000" marT="18595" marB="1859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éduction du délai</a:t>
                      </a:r>
                    </a:p>
                  </a:txBody>
                  <a:tcPr marL="81000" marR="81000" marT="18595" marB="185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fr-FR" sz="9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81000" marR="81000" marT="18595" marB="185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406523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ED099E64-E9D7-4304-BC73-9286BBFDF283}"/>
              </a:ext>
            </a:extLst>
          </p:cNvPr>
          <p:cNvSpPr/>
          <p:nvPr/>
        </p:nvSpPr>
        <p:spPr>
          <a:xfrm>
            <a:off x="283421" y="4876006"/>
            <a:ext cx="4144563" cy="874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800" b="1">
                <a:solidFill>
                  <a:schemeClr val="tx1"/>
                </a:solidFill>
              </a:rPr>
              <a:t>Hypothèse : </a:t>
            </a:r>
            <a:r>
              <a:rPr lang="fr-FR" sz="800">
                <a:solidFill>
                  <a:schemeClr val="tx1"/>
                </a:solidFill>
              </a:rPr>
              <a:t>1540 heures travaillées par an pour 1 ETP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460065E-D019-43D8-A271-72542E6BE3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8139124"/>
              </p:ext>
            </p:extLst>
          </p:nvPr>
        </p:nvGraphicFramePr>
        <p:xfrm>
          <a:off x="159248" y="1027391"/>
          <a:ext cx="8746576" cy="830947"/>
        </p:xfrm>
        <a:graphic>
          <a:graphicData uri="http://schemas.openxmlformats.org/drawingml/2006/table">
            <a:tbl>
              <a:tblPr firstRow="1" bandRow="1"/>
              <a:tblGrid>
                <a:gridCol w="10933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93322">
                  <a:extLst>
                    <a:ext uri="{9D8B030D-6E8A-4147-A177-3AD203B41FA5}">
                      <a16:colId xmlns:a16="http://schemas.microsoft.com/office/drawing/2014/main" val="2321634471"/>
                    </a:ext>
                  </a:extLst>
                </a:gridCol>
                <a:gridCol w="1093322">
                  <a:extLst>
                    <a:ext uri="{9D8B030D-6E8A-4147-A177-3AD203B41FA5}">
                      <a16:colId xmlns:a16="http://schemas.microsoft.com/office/drawing/2014/main" val="2792445495"/>
                    </a:ext>
                  </a:extLst>
                </a:gridCol>
                <a:gridCol w="1093322">
                  <a:extLst>
                    <a:ext uri="{9D8B030D-6E8A-4147-A177-3AD203B41FA5}">
                      <a16:colId xmlns:a16="http://schemas.microsoft.com/office/drawing/2014/main" val="1473011150"/>
                    </a:ext>
                  </a:extLst>
                </a:gridCol>
                <a:gridCol w="1093322">
                  <a:extLst>
                    <a:ext uri="{9D8B030D-6E8A-4147-A177-3AD203B41FA5}">
                      <a16:colId xmlns:a16="http://schemas.microsoft.com/office/drawing/2014/main" val="4267379905"/>
                    </a:ext>
                  </a:extLst>
                </a:gridCol>
                <a:gridCol w="1093322">
                  <a:extLst>
                    <a:ext uri="{9D8B030D-6E8A-4147-A177-3AD203B41FA5}">
                      <a16:colId xmlns:a16="http://schemas.microsoft.com/office/drawing/2014/main" val="1451628568"/>
                    </a:ext>
                  </a:extLst>
                </a:gridCol>
                <a:gridCol w="1093322">
                  <a:extLst>
                    <a:ext uri="{9D8B030D-6E8A-4147-A177-3AD203B41FA5}">
                      <a16:colId xmlns:a16="http://schemas.microsoft.com/office/drawing/2014/main" val="814773493"/>
                    </a:ext>
                  </a:extLst>
                </a:gridCol>
                <a:gridCol w="1093322">
                  <a:extLst>
                    <a:ext uri="{9D8B030D-6E8A-4147-A177-3AD203B41FA5}">
                      <a16:colId xmlns:a16="http://schemas.microsoft.com/office/drawing/2014/main" val="2559350970"/>
                    </a:ext>
                  </a:extLst>
                </a:gridCol>
              </a:tblGrid>
              <a:tr h="138068">
                <a:tc gridSpan="8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900" b="1" kern="1200" err="1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Objectifs</a:t>
                      </a:r>
                      <a:r>
                        <a:rPr lang="en-GB" sz="900" b="1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GB" sz="900" b="1" kern="1200" err="1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potentiels</a:t>
                      </a:r>
                      <a:r>
                        <a:rPr lang="en-GB" sz="900" b="1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 de </a:t>
                      </a:r>
                      <a:r>
                        <a:rPr lang="en-GB" sz="900" b="1" kern="1200" err="1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MS PGothic"/>
                          <a:cs typeface="Calibri" panose="020F0502020204030204" pitchFamily="34" charset="0"/>
                        </a:rPr>
                        <a:t>l’automatisation</a:t>
                      </a:r>
                      <a:endParaRPr lang="en-GB" sz="900" b="1" kern="120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MS PGothic"/>
                        <a:cs typeface="Calibri" panose="020F050202020403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 b="1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0455" marR="20455" marT="20455" marB="2045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 b="1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0455" marR="20455" marT="20455" marB="2045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900" b="1" kern="120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MS PGothic"/>
                        <a:cs typeface="Calibri" panose="020F050202020403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900" b="1" kern="120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MS PGothic"/>
                        <a:cs typeface="Calibri" panose="020F050202020403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900" b="1" kern="120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MS PGothic"/>
                        <a:cs typeface="Calibri" panose="020F050202020403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900" b="1" kern="120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MS PGothic"/>
                        <a:cs typeface="Calibri" panose="020F050202020403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900" b="1" kern="120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MS PGothic"/>
                        <a:cs typeface="Calibri" panose="020F050202020403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2347">
                <a:tc>
                  <a:txBody>
                    <a:bodyPr/>
                    <a:lstStyle/>
                    <a:p>
                      <a:pPr algn="ctr"/>
                      <a:r>
                        <a:rPr lang="fr-FR" sz="900" b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mplification</a:t>
                      </a:r>
                      <a:r>
                        <a:rPr lang="fr-FR" sz="9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u processus</a:t>
                      </a:r>
                    </a:p>
                  </a:txBody>
                  <a:tcPr marL="81000" marR="81000" marT="18595" marB="1859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b="0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mélioration de la </a:t>
                      </a:r>
                      <a:r>
                        <a:rPr lang="fr-FR" sz="900" b="1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alité</a:t>
                      </a:r>
                      <a:r>
                        <a:rPr lang="fr-FR" sz="900" b="0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Réduction des erreurs)</a:t>
                      </a:r>
                    </a:p>
                  </a:txBody>
                  <a:tcPr marL="81000" marR="81000" marT="18595" marB="1859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b="0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mélioration de la </a:t>
                      </a:r>
                      <a:r>
                        <a:rPr lang="fr-FR" sz="900" b="1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ductivité</a:t>
                      </a:r>
                    </a:p>
                  </a:txBody>
                  <a:tcPr marL="81000" marR="81000" marT="18595" marB="1859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b="0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mélioration de la </a:t>
                      </a:r>
                      <a:r>
                        <a:rPr lang="fr-FR" sz="900" b="1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atisfaction de l’usager/agent</a:t>
                      </a:r>
                    </a:p>
                  </a:txBody>
                  <a:tcPr marL="81000" marR="81000" marT="18595" marB="1859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b="0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ugmentation de la</a:t>
                      </a:r>
                      <a:r>
                        <a:rPr lang="fr-FR" sz="900" b="1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raçabilité</a:t>
                      </a:r>
                    </a:p>
                  </a:txBody>
                  <a:tcPr marL="81000" marR="81000" marT="18595" marB="1859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b="0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éduction des </a:t>
                      </a:r>
                      <a:r>
                        <a:rPr lang="fr-FR" sz="900" b="1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ûts</a:t>
                      </a:r>
                    </a:p>
                  </a:txBody>
                  <a:tcPr marL="81000" marR="81000" marT="18595" marB="1859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b="0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mélioration de la </a:t>
                      </a:r>
                      <a:r>
                        <a:rPr lang="fr-FR" sz="900" b="1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atisfaction des gestionnaires</a:t>
                      </a:r>
                    </a:p>
                  </a:txBody>
                  <a:tcPr marL="81000" marR="81000" marT="18595" marB="1859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900" b="0" kern="1200" noProof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utres</a:t>
                      </a:r>
                    </a:p>
                  </a:txBody>
                  <a:tcPr marL="81000" marR="81000" marT="18595" marB="1859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47398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itre 6">
            <a:extLst>
              <a:ext uri="{FF2B5EF4-FFF2-40B4-BE49-F238E27FC236}">
                <a16:creationId xmlns:a16="http://schemas.microsoft.com/office/drawing/2014/main" id="{EF012AB3-AC73-4331-B3B1-1EC999F3A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6162" y="95418"/>
            <a:ext cx="7631200" cy="478548"/>
          </a:xfrm>
        </p:spPr>
        <p:txBody>
          <a:bodyPr/>
          <a:lstStyle/>
          <a:p>
            <a:r>
              <a:rPr lang="fr-FR" sz="1800"/>
              <a:t>Description détaillée du processus</a:t>
            </a:r>
            <a:br>
              <a:rPr lang="fr-FR" sz="1800"/>
            </a:br>
            <a:r>
              <a:rPr lang="fr-FR" sz="1350" b="0" i="1">
                <a:solidFill>
                  <a:schemeClr val="accent4"/>
                </a:solidFill>
              </a:rPr>
              <a:t>Indus constatés sur rémunération</a:t>
            </a:r>
            <a:br>
              <a:rPr lang="fr-FR" sz="1350" b="0" i="1">
                <a:solidFill>
                  <a:schemeClr val="accent4"/>
                </a:solidFill>
              </a:rPr>
            </a:br>
            <a:endParaRPr lang="fr-FR" sz="1350" b="0" i="1">
              <a:solidFill>
                <a:schemeClr val="accent4"/>
              </a:solidFill>
            </a:endParaRPr>
          </a:p>
        </p:txBody>
      </p:sp>
      <p:sp>
        <p:nvSpPr>
          <p:cNvPr id="107" name="Espace réservé du numéro de diapositive 4">
            <a:extLst>
              <a:ext uri="{FF2B5EF4-FFF2-40B4-BE49-F238E27FC236}">
                <a16:creationId xmlns:a16="http://schemas.microsoft.com/office/drawing/2014/main" id="{3B4C0C11-F10E-44B2-84A6-4FF34FAE22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64003" y="4783500"/>
            <a:ext cx="1350000" cy="360000"/>
          </a:xfr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7</a:t>
            </a:fld>
            <a:endParaRPr lang="fr-FR">
              <a:solidFill>
                <a:srgbClr val="000000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2935383D-453C-40AF-9E87-65E73F286C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6658037"/>
              </p:ext>
            </p:extLst>
          </p:nvPr>
        </p:nvGraphicFramePr>
        <p:xfrm>
          <a:off x="157432" y="781747"/>
          <a:ext cx="4317464" cy="68855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174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93369">
                <a:tc>
                  <a:txBody>
                    <a:bodyPr/>
                    <a:lstStyle/>
                    <a:p>
                      <a:pPr marL="0" marR="0" lvl="0" indent="0" algn="ctr" defTabSz="9140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noProof="0">
                          <a:solidFill>
                            <a:schemeClr val="bg1"/>
                          </a:solidFill>
                        </a:rPr>
                        <a:t>Entrant du processus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5182">
                <a:tc>
                  <a:txBody>
                    <a:bodyPr/>
                    <a:lstStyle/>
                    <a:p>
                      <a:pPr marL="0" indent="0" algn="l" defTabSz="685783" rtl="0" eaLnBrk="1" fontAlgn="ctr" latinLnBrk="0" hangingPunct="1">
                        <a:buNone/>
                      </a:pPr>
                      <a:endParaRPr lang="fr-FR" sz="1000" b="0" i="1" u="none" strike="noStrike" kern="1200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231" marR="47231" marT="23616" marB="236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6EE08782-6840-4DA8-B53C-B2B33D1535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3748599"/>
              </p:ext>
            </p:extLst>
          </p:nvPr>
        </p:nvGraphicFramePr>
        <p:xfrm>
          <a:off x="4669106" y="781746"/>
          <a:ext cx="4317464" cy="68855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174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93369">
                <a:tc>
                  <a:txBody>
                    <a:bodyPr/>
                    <a:lstStyle/>
                    <a:p>
                      <a:pPr marL="0" marR="0" lvl="0" indent="0" algn="ctr" defTabSz="9140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800" b="1" noProof="0">
                          <a:solidFill>
                            <a:schemeClr val="bg1"/>
                          </a:solidFill>
                        </a:rPr>
                        <a:t>Sortant du processus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5182">
                <a:tc>
                  <a:txBody>
                    <a:bodyPr/>
                    <a:lstStyle/>
                    <a:p>
                      <a:pPr marL="0" indent="0" algn="l" defTabSz="685783" rtl="0" eaLnBrk="1" fontAlgn="ctr" latinLnBrk="0" hangingPunct="1">
                        <a:buNone/>
                      </a:pPr>
                      <a:endParaRPr lang="fr-FR" sz="1000" b="0" i="1" u="none" strike="noStrike" kern="1200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231" marR="47231" marT="23616" marB="2361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D54B7BEC-BE99-481D-8D9D-0E00CF59D2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1343223"/>
              </p:ext>
            </p:extLst>
          </p:nvPr>
        </p:nvGraphicFramePr>
        <p:xfrm>
          <a:off x="157432" y="1510493"/>
          <a:ext cx="8829135" cy="3468037"/>
        </p:xfrm>
        <a:graphic>
          <a:graphicData uri="http://schemas.openxmlformats.org/drawingml/2006/table">
            <a:tbl>
              <a:tblPr/>
              <a:tblGrid>
                <a:gridCol w="177446">
                  <a:extLst>
                    <a:ext uri="{9D8B030D-6E8A-4147-A177-3AD203B41FA5}">
                      <a16:colId xmlns:a16="http://schemas.microsoft.com/office/drawing/2014/main" val="1087957323"/>
                    </a:ext>
                  </a:extLst>
                </a:gridCol>
                <a:gridCol w="767981">
                  <a:extLst>
                    <a:ext uri="{9D8B030D-6E8A-4147-A177-3AD203B41FA5}">
                      <a16:colId xmlns:a16="http://schemas.microsoft.com/office/drawing/2014/main" val="2422361296"/>
                    </a:ext>
                  </a:extLst>
                </a:gridCol>
                <a:gridCol w="3453111">
                  <a:extLst>
                    <a:ext uri="{9D8B030D-6E8A-4147-A177-3AD203B41FA5}">
                      <a16:colId xmlns:a16="http://schemas.microsoft.com/office/drawing/2014/main" val="4207534146"/>
                    </a:ext>
                  </a:extLst>
                </a:gridCol>
                <a:gridCol w="625630">
                  <a:extLst>
                    <a:ext uri="{9D8B030D-6E8A-4147-A177-3AD203B41FA5}">
                      <a16:colId xmlns:a16="http://schemas.microsoft.com/office/drawing/2014/main" val="1986083951"/>
                    </a:ext>
                  </a:extLst>
                </a:gridCol>
                <a:gridCol w="389467">
                  <a:extLst>
                    <a:ext uri="{9D8B030D-6E8A-4147-A177-3AD203B41FA5}">
                      <a16:colId xmlns:a16="http://schemas.microsoft.com/office/drawing/2014/main" val="1195119392"/>
                    </a:ext>
                  </a:extLst>
                </a:gridCol>
                <a:gridCol w="364066">
                  <a:extLst>
                    <a:ext uri="{9D8B030D-6E8A-4147-A177-3AD203B41FA5}">
                      <a16:colId xmlns:a16="http://schemas.microsoft.com/office/drawing/2014/main" val="1687703020"/>
                    </a:ext>
                  </a:extLst>
                </a:gridCol>
                <a:gridCol w="499534">
                  <a:extLst>
                    <a:ext uri="{9D8B030D-6E8A-4147-A177-3AD203B41FA5}">
                      <a16:colId xmlns:a16="http://schemas.microsoft.com/office/drawing/2014/main" val="2825450543"/>
                    </a:ext>
                  </a:extLst>
                </a:gridCol>
                <a:gridCol w="2551900">
                  <a:extLst>
                    <a:ext uri="{9D8B030D-6E8A-4147-A177-3AD203B41FA5}">
                      <a16:colId xmlns:a16="http://schemas.microsoft.com/office/drawing/2014/main" val="1655780628"/>
                    </a:ext>
                  </a:extLst>
                </a:gridCol>
              </a:tblGrid>
              <a:tr h="60562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#</a:t>
                      </a: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acro étape</a:t>
                      </a: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âches</a:t>
                      </a: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ystème / Outil</a:t>
                      </a: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# écrans</a:t>
                      </a: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# actions</a:t>
                      </a: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# règles métier</a:t>
                      </a: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mentaire </a:t>
                      </a:r>
                      <a:br>
                        <a:rPr lang="fr-FR" sz="10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900" b="0" i="1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(type de données/format, exception, nom du responsable des outils utilisés, stabilité des outils, mise à jour prochaine)</a:t>
                      </a:r>
                      <a:endParaRPr lang="fr-FR" sz="1050" b="0" i="1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6495410"/>
                  </a:ext>
                </a:extLst>
              </a:tr>
              <a:tr h="38922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4879136"/>
                  </a:ext>
                </a:extLst>
              </a:tr>
              <a:tr h="421268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523950"/>
                  </a:ext>
                </a:extLst>
              </a:tr>
              <a:tr h="143771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  <a:p>
                      <a:pPr algn="ctr" fontAlgn="ctr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  <a:p>
                      <a:pPr algn="ctr" fontAlgn="ctr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8104450"/>
                  </a:ext>
                </a:extLst>
              </a:tr>
              <a:tr h="132767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9287973"/>
                  </a:ext>
                </a:extLst>
              </a:tr>
              <a:tr h="260998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1465844"/>
                  </a:ext>
                </a:extLst>
              </a:tr>
              <a:tr h="215097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6018893"/>
                  </a:ext>
                </a:extLst>
              </a:tr>
              <a:tr h="215097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 kern="12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2821602"/>
                  </a:ext>
                </a:extLst>
              </a:tr>
              <a:tr h="215097">
                <a:tc vMerge="1">
                  <a:txBody>
                    <a:bodyPr/>
                    <a:lstStyle/>
                    <a:p>
                      <a:pPr algn="ctr" fontAlgn="ctr"/>
                      <a:endParaRPr lang="fr-FR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fr-FR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 kern="12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2640601"/>
                  </a:ext>
                </a:extLst>
              </a:tr>
              <a:tr h="215097">
                <a:tc vMerge="1">
                  <a:txBody>
                    <a:bodyPr/>
                    <a:lstStyle/>
                    <a:p>
                      <a:pPr algn="ctr" fontAlgn="ctr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 kern="12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3323913"/>
                  </a:ext>
                </a:extLst>
              </a:tr>
              <a:tr h="21509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1858342"/>
                  </a:ext>
                </a:extLst>
              </a:tr>
              <a:tr h="215097">
                <a:tc vMerge="1">
                  <a:txBody>
                    <a:bodyPr/>
                    <a:lstStyle/>
                    <a:p>
                      <a:pPr algn="ctr" fontAlgn="ctr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6157424"/>
                  </a:ext>
                </a:extLst>
              </a:tr>
              <a:tr h="215097">
                <a:tc vMerge="1">
                  <a:txBody>
                    <a:bodyPr/>
                    <a:lstStyle/>
                    <a:p>
                      <a:pPr algn="ctr" fontAlgn="ctr"/>
                      <a:endParaRPr lang="fr-F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12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4312" marT="431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6067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63032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man in black jacket sitting on white chair">
            <a:extLst>
              <a:ext uri="{FF2B5EF4-FFF2-40B4-BE49-F238E27FC236}">
                <a16:creationId xmlns:a16="http://schemas.microsoft.com/office/drawing/2014/main" id="{D7810EF7-622A-41B7-959A-1F6FC7BD52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13"/>
          <a:stretch/>
        </p:blipFill>
        <p:spPr bwMode="auto">
          <a:xfrm>
            <a:off x="15" y="7"/>
            <a:ext cx="9143985" cy="5143493"/>
          </a:xfrm>
          <a:custGeom>
            <a:avLst/>
            <a:gdLst>
              <a:gd name="connsiteX0" fmla="*/ 11786547 w 12192000"/>
              <a:gd name="connsiteY0" fmla="*/ 205058 h 6858000"/>
              <a:gd name="connsiteX1" fmla="*/ 11562163 w 12192000"/>
              <a:gd name="connsiteY1" fmla="*/ 436971 h 6858000"/>
              <a:gd name="connsiteX2" fmla="*/ 11639891 w 12192000"/>
              <a:gd name="connsiteY2" fmla="*/ 551459 h 6858000"/>
              <a:gd name="connsiteX3" fmla="*/ 11719085 w 12192000"/>
              <a:gd name="connsiteY3" fmla="*/ 552927 h 6858000"/>
              <a:gd name="connsiteX4" fmla="*/ 11751166 w 12192000"/>
              <a:gd name="connsiteY4" fmla="*/ 536965 h 6858000"/>
              <a:gd name="connsiteX5" fmla="*/ 11777548 w 12192000"/>
              <a:gd name="connsiteY5" fmla="*/ 513474 h 6858000"/>
              <a:gd name="connsiteX6" fmla="*/ 11770504 w 12192000"/>
              <a:gd name="connsiteY6" fmla="*/ 536398 h 6858000"/>
              <a:gd name="connsiteX7" fmla="*/ 11705703 w 12192000"/>
              <a:gd name="connsiteY7" fmla="*/ 579359 h 6858000"/>
              <a:gd name="connsiteX8" fmla="*/ 11760002 w 12192000"/>
              <a:gd name="connsiteY8" fmla="*/ 594046 h 6858000"/>
              <a:gd name="connsiteX9" fmla="*/ 11889144 w 12192000"/>
              <a:gd name="connsiteY9" fmla="*/ 551453 h 6858000"/>
              <a:gd name="connsiteX10" fmla="*/ 11824573 w 12192000"/>
              <a:gd name="connsiteY10" fmla="*/ 494172 h 6858000"/>
              <a:gd name="connsiteX11" fmla="*/ 11889144 w 12192000"/>
              <a:gd name="connsiteY11" fmla="*/ 525016 h 6858000"/>
              <a:gd name="connsiteX12" fmla="*/ 11974376 w 12192000"/>
              <a:gd name="connsiteY12" fmla="*/ 467391 h 6858000"/>
              <a:gd name="connsiteX13" fmla="*/ 11981591 w 12192000"/>
              <a:gd name="connsiteY13" fmla="*/ 431058 h 6858000"/>
              <a:gd name="connsiteX14" fmla="*/ 11981599 w 12192000"/>
              <a:gd name="connsiteY14" fmla="*/ 431100 h 6858000"/>
              <a:gd name="connsiteX15" fmla="*/ 11981599 w 12192000"/>
              <a:gd name="connsiteY15" fmla="*/ 431017 h 6858000"/>
              <a:gd name="connsiteX16" fmla="*/ 11981599 w 12192000"/>
              <a:gd name="connsiteY16" fmla="*/ 428164 h 6858000"/>
              <a:gd name="connsiteX17" fmla="*/ 11909738 w 12192000"/>
              <a:gd name="connsiteY17" fmla="*/ 279916 h 6858000"/>
              <a:gd name="connsiteX18" fmla="*/ 11796813 w 12192000"/>
              <a:gd name="connsiteY18" fmla="*/ 209461 h 6858000"/>
              <a:gd name="connsiteX19" fmla="*/ 11786547 w 12192000"/>
              <a:gd name="connsiteY19" fmla="*/ 205058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6547" y="205058"/>
                </a:moveTo>
                <a:cubicBezTo>
                  <a:pt x="11736684" y="265238"/>
                  <a:pt x="11562163" y="310740"/>
                  <a:pt x="11562163" y="436971"/>
                </a:cubicBezTo>
                <a:cubicBezTo>
                  <a:pt x="11562163" y="486876"/>
                  <a:pt x="11592961" y="533846"/>
                  <a:pt x="11639891" y="551459"/>
                </a:cubicBezTo>
                <a:cubicBezTo>
                  <a:pt x="11666289" y="561734"/>
                  <a:pt x="11692687" y="561734"/>
                  <a:pt x="11719085" y="552927"/>
                </a:cubicBezTo>
                <a:cubicBezTo>
                  <a:pt x="11730818" y="549258"/>
                  <a:pt x="11741450" y="543753"/>
                  <a:pt x="11751166" y="536965"/>
                </a:cubicBezTo>
                <a:lnTo>
                  <a:pt x="11777548" y="513474"/>
                </a:lnTo>
                <a:lnTo>
                  <a:pt x="11770504" y="536398"/>
                </a:lnTo>
                <a:cubicBezTo>
                  <a:pt x="11758809" y="558154"/>
                  <a:pt x="11734320" y="574953"/>
                  <a:pt x="11705703" y="579359"/>
                </a:cubicBezTo>
                <a:cubicBezTo>
                  <a:pt x="11714508" y="588171"/>
                  <a:pt x="11735054" y="594046"/>
                  <a:pt x="11760002" y="594046"/>
                </a:cubicBezTo>
                <a:cubicBezTo>
                  <a:pt x="11805495" y="594046"/>
                  <a:pt x="11861261" y="580827"/>
                  <a:pt x="11889144" y="551453"/>
                </a:cubicBezTo>
                <a:cubicBezTo>
                  <a:pt x="11850989" y="552921"/>
                  <a:pt x="11826041" y="527953"/>
                  <a:pt x="11824573" y="494172"/>
                </a:cubicBezTo>
                <a:cubicBezTo>
                  <a:pt x="11842183" y="516203"/>
                  <a:pt x="11864196" y="525016"/>
                  <a:pt x="11889144" y="525016"/>
                </a:cubicBezTo>
                <a:cubicBezTo>
                  <a:pt x="11927667" y="525016"/>
                  <a:pt x="11960411" y="501057"/>
                  <a:pt x="11974376" y="467391"/>
                </a:cubicBezTo>
                <a:lnTo>
                  <a:pt x="11981591" y="431058"/>
                </a:lnTo>
                <a:lnTo>
                  <a:pt x="11981599" y="431100"/>
                </a:lnTo>
                <a:lnTo>
                  <a:pt x="11981599" y="431017"/>
                </a:lnTo>
                <a:lnTo>
                  <a:pt x="11981599" y="428164"/>
                </a:lnTo>
                <a:cubicBezTo>
                  <a:pt x="11981599" y="369452"/>
                  <a:pt x="11952268" y="319547"/>
                  <a:pt x="11909738" y="279916"/>
                </a:cubicBezTo>
                <a:cubicBezTo>
                  <a:pt x="11877473" y="249092"/>
                  <a:pt x="11837876" y="227075"/>
                  <a:pt x="11796813" y="209461"/>
                </a:cubicBezTo>
                <a:cubicBezTo>
                  <a:pt x="11793879" y="207994"/>
                  <a:pt x="11790946" y="206526"/>
                  <a:pt x="11786547" y="20505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664011-8E02-4F5E-84EE-A3D19DDABA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526" y="87474"/>
            <a:ext cx="8100900" cy="513930"/>
          </a:xfrm>
        </p:spPr>
        <p:txBody>
          <a:bodyPr vert="horz" wrap="square" lIns="0" tIns="0" rIns="0" bIns="0" rtlCol="0" anchor="b">
            <a:noAutofit/>
          </a:bodyPr>
          <a:lstStyle/>
          <a:p>
            <a:pPr>
              <a:lnSpc>
                <a:spcPct val="90000"/>
              </a:lnSpc>
            </a:pPr>
            <a:r>
              <a:rPr lang="fr-FR" sz="1950"/>
              <a:t>Concrètement, Qu’est-ce que un robot RPA ? </a:t>
            </a:r>
          </a:p>
        </p:txBody>
      </p:sp>
      <p:sp>
        <p:nvSpPr>
          <p:cNvPr id="7" name="ZoneTexte 5">
            <a:extLst>
              <a:ext uri="{FF2B5EF4-FFF2-40B4-BE49-F238E27FC236}">
                <a16:creationId xmlns:a16="http://schemas.microsoft.com/office/drawing/2014/main" id="{07F84639-7675-4EFD-BF23-FE15D60B373C}"/>
              </a:ext>
            </a:extLst>
          </p:cNvPr>
          <p:cNvSpPr txBox="1"/>
          <p:nvPr/>
        </p:nvSpPr>
        <p:spPr>
          <a:xfrm>
            <a:off x="1169622" y="1675038"/>
            <a:ext cx="7098450" cy="222443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fr-FR" sz="2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C’est un </a:t>
            </a:r>
            <a:r>
              <a:rPr lang="fr-FR" sz="3000" b="1">
                <a:solidFill>
                  <a:srgbClr val="0070AD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automate virtuel </a:t>
            </a:r>
            <a:r>
              <a:rPr lang="fr-FR" sz="2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qui exécute des actions d’un</a:t>
            </a:r>
            <a:r>
              <a:rPr lang="fr-FR" sz="2400">
                <a:solidFill>
                  <a:srgbClr val="FFFFFF"/>
                </a:solidFill>
                <a:latin typeface="Arial"/>
              </a:rPr>
              <a:t> </a:t>
            </a:r>
            <a:r>
              <a:rPr lang="fr-FR" sz="3000" b="1">
                <a:solidFill>
                  <a:srgbClr val="0070AD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processus métier défini </a:t>
            </a:r>
            <a:r>
              <a:rPr lang="fr-FR" sz="240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/>
              </a:rPr>
              <a:t>à travers plusieurs applications et environnements</a:t>
            </a:r>
          </a:p>
        </p:txBody>
      </p:sp>
    </p:spTree>
    <p:extLst>
      <p:ext uri="{BB962C8B-B14F-4D97-AF65-F5344CB8AC3E}">
        <p14:creationId xmlns:p14="http://schemas.microsoft.com/office/powerpoint/2010/main" val="24915119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JjfwxgOkaV3pwXEBYUtQ"/>
</p:tagLst>
</file>

<file path=ppt/theme/theme1.xml><?xml version="1.0" encoding="utf-8"?>
<a:theme xmlns:a="http://schemas.openxmlformats.org/drawingml/2006/main" name="MINISTÈRIEL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_ministeriel_marianne" id="{5F0B8B09-9A99-4083-B883-79F2388C6E1D}" vid="{F8005780-5DEF-4BE0-805B-EA49FB1EABC6}"/>
    </a:ext>
  </a:extLst>
</a:theme>
</file>

<file path=ppt/theme/theme2.xml><?xml version="1.0" encoding="utf-8"?>
<a:theme xmlns:a="http://schemas.openxmlformats.org/drawingml/2006/main" name="Capgemini Master 2021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-Capgemini-Invent_MasterTemplate_June21.potx" id="{3376EF2B-E8F2-4FAF-BA52-F4A2B2EB0DB9}" vid="{E004E8A5-EB97-4177-B7D6-B9CBD461028B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c41a1f1-1963-436e-a2f9-00d063598dfe">
      <UserInfo>
        <DisplayName>LOR, Kévin</DisplayName>
        <AccountId>10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52C888B35AC7B4094CB30ADD37301CE" ma:contentTypeVersion="10" ma:contentTypeDescription="Create a new document." ma:contentTypeScope="" ma:versionID="69b33baa4c1bdea7b21ae003d9e2868b">
  <xsd:schema xmlns:xsd="http://www.w3.org/2001/XMLSchema" xmlns:xs="http://www.w3.org/2001/XMLSchema" xmlns:p="http://schemas.microsoft.com/office/2006/metadata/properties" xmlns:ns2="7e04c5a2-0e21-42f0-b5b9-4c0d82b60ef4" xmlns:ns3="8c41a1f1-1963-436e-a2f9-00d063598dfe" targetNamespace="http://schemas.microsoft.com/office/2006/metadata/properties" ma:root="true" ma:fieldsID="ea6f6443010789771d8d1db1e5a615e0" ns2:_="" ns3:_="">
    <xsd:import namespace="7e04c5a2-0e21-42f0-b5b9-4c0d82b60ef4"/>
    <xsd:import namespace="8c41a1f1-1963-436e-a2f9-00d063598d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04c5a2-0e21-42f0-b5b9-4c0d82b60ef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41a1f1-1963-436e-a2f9-00d063598df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D416C5A-7AEB-4464-B116-D5E8F5627C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4B279A5-87A2-445D-95C3-916EB9C5F0E3}">
  <ds:schemaRefs>
    <ds:schemaRef ds:uri="7e04c5a2-0e21-42f0-b5b9-4c0d82b60ef4"/>
    <ds:schemaRef ds:uri="8c41a1f1-1963-436e-a2f9-00d063598df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680A621-280A-4EA0-9878-9AD1F8A7160D}">
  <ds:schemaRefs>
    <ds:schemaRef ds:uri="7e04c5a2-0e21-42f0-b5b9-4c0d82b60ef4"/>
    <ds:schemaRef ds:uri="8c41a1f1-1963-436e-a2f9-00d063598df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NISTÈRIEL</Template>
  <Application>Microsoft Office PowerPoint</Application>
  <PresentationFormat>On-screen Show (16:9)</PresentationFormat>
  <Slides>8</Slides>
  <Notes>8</Notes>
  <HiddenSlides>2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MINISTÈRIEL</vt:lpstr>
      <vt:lpstr>Capgemini Master 2021</vt:lpstr>
      <vt:lpstr>PowerPoint Presentation</vt:lpstr>
      <vt:lpstr>Qualification d’une opportunité d’automatisation  Indus constatés sur rémunération</vt:lpstr>
      <vt:lpstr>Fiche synthèse de la qualification  Indus constatés sur rémunération  </vt:lpstr>
      <vt:lpstr>Macro description du processus  Indus constatés sur rémunération</vt:lpstr>
      <vt:lpstr>Evaluation de la complexité métier  Indus constatés sur rémunération </vt:lpstr>
      <vt:lpstr>Estimation de la valeur métier Indus constatés sur rémunération </vt:lpstr>
      <vt:lpstr>Description détaillée du processus Indus constatés sur rémunération </vt:lpstr>
      <vt:lpstr>Concrètement, Qu’est-ce que un robot RPA ? </vt:lpstr>
    </vt:vector>
  </TitlesOfParts>
  <Manager>Client</Manager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Client</dc:subject>
  <dc:creator>Microsoft Office User</dc:creator>
  <cp:revision>1</cp:revision>
  <dcterms:created xsi:type="dcterms:W3CDTF">2020-03-05T15:21:24Z</dcterms:created>
  <dcterms:modified xsi:type="dcterms:W3CDTF">2022-03-30T09:59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2C888B35AC7B4094CB30ADD37301CE</vt:lpwstr>
  </property>
</Properties>
</file>